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1" r:id="rId2"/>
  </p:sldMasterIdLst>
  <p:notesMasterIdLst>
    <p:notesMasterId r:id="rId7"/>
  </p:notesMasterIdLst>
  <p:sldIdLst>
    <p:sldId id="474" r:id="rId3"/>
    <p:sldId id="476" r:id="rId4"/>
    <p:sldId id="481" r:id="rId5"/>
    <p:sldId id="416" r:id="rId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C92EB520-85DA-44C8-96F6-4697F97C0DDD}">
          <p14:sldIdLst>
            <p14:sldId id="474"/>
            <p14:sldId id="476"/>
            <p14:sldId id="481"/>
            <p14:sldId id="416"/>
          </p14:sldIdLst>
        </p14:section>
        <p14:section name="Section sans titre" id="{1C6FED81-2376-4217-B9A8-285DEBDFAF3B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clrMru>
    <a:srgbClr val="1B56A5"/>
    <a:srgbClr val="276E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71" autoAdjust="0"/>
    <p:restoredTop sz="86012" autoAdjust="0"/>
  </p:normalViewPr>
  <p:slideViewPr>
    <p:cSldViewPr showGuides="1">
      <p:cViewPr varScale="1">
        <p:scale>
          <a:sx n="98" d="100"/>
          <a:sy n="98" d="100"/>
        </p:scale>
        <p:origin x="1572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94" d="100"/>
          <a:sy n="94" d="100"/>
        </p:scale>
        <p:origin x="296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ms-file-server.mip.local\MARKET-IP\MARKETING\1-MARKET-IP\Corporate%20info\EXPORT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949640166548051"/>
          <c:y val="0.18560184024274537"/>
          <c:w val="0.80859951881014869"/>
          <c:h val="0.614984324876057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[EXPORT.xlsx]Feuil1!$A$37</c:f>
              <c:strCache>
                <c:ptCount val="1"/>
                <c:pt idx="0">
                  <c:v>CA Loc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[EXPORT.xlsx]Feuil1!$B$36:$K$36</c:f>
              <c:numCache>
                <c:formatCode>General</c:formatCode>
                <c:ptCount val="10"/>
                <c:pt idx="0">
                  <c:v>2012</c:v>
                </c:pt>
                <c:pt idx="2">
                  <c:v>2013</c:v>
                </c:pt>
                <c:pt idx="4">
                  <c:v>2014</c:v>
                </c:pt>
                <c:pt idx="6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[EXPORT.xlsx]Feuil1!$B$37:$K$37</c:f>
              <c:numCache>
                <c:formatCode>0%</c:formatCode>
                <c:ptCount val="10"/>
                <c:pt idx="0" formatCode="#,##0\ &quot;€&quot;">
                  <c:v>1274210</c:v>
                </c:pt>
                <c:pt idx="1">
                  <c:v>0.93629056376123965</c:v>
                </c:pt>
                <c:pt idx="2" formatCode="#,##0\ &quot;€&quot;">
                  <c:v>1090737.5624492306</c:v>
                </c:pt>
                <c:pt idx="3">
                  <c:v>0.84842553329042003</c:v>
                </c:pt>
                <c:pt idx="4" formatCode="#,##0\ &quot;€&quot;">
                  <c:v>1102500.9150836121</c:v>
                </c:pt>
                <c:pt idx="5">
                  <c:v>0.68432157878822863</c:v>
                </c:pt>
                <c:pt idx="6" formatCode="#,##0\ &quot;€&quot;">
                  <c:v>1143876</c:v>
                </c:pt>
                <c:pt idx="7">
                  <c:v>0.58251027014805212</c:v>
                </c:pt>
                <c:pt idx="8" formatCode="#,##0\ &quot;€&quot;">
                  <c:v>1258263.6000000001</c:v>
                </c:pt>
                <c:pt idx="9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DD-4194-9937-993715C8F08C}"/>
            </c:ext>
          </c:extLst>
        </c:ser>
        <c:ser>
          <c:idx val="1"/>
          <c:order val="1"/>
          <c:tx>
            <c:strRef>
              <c:f>[EXPORT.xlsx]Feuil1!$A$38</c:f>
              <c:strCache>
                <c:ptCount val="1"/>
                <c:pt idx="0">
                  <c:v>CA U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[EXPORT.xlsx]Feuil1!$B$36:$K$36</c:f>
              <c:numCache>
                <c:formatCode>General</c:formatCode>
                <c:ptCount val="10"/>
                <c:pt idx="0">
                  <c:v>2012</c:v>
                </c:pt>
                <c:pt idx="2">
                  <c:v>2013</c:v>
                </c:pt>
                <c:pt idx="4">
                  <c:v>2014</c:v>
                </c:pt>
                <c:pt idx="6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[EXPORT.xlsx]Feuil1!$B$38:$K$38</c:f>
              <c:numCache>
                <c:formatCode>0%</c:formatCode>
                <c:ptCount val="10"/>
                <c:pt idx="0" formatCode="#,##0\ &quot;€&quot;">
                  <c:v>64345</c:v>
                </c:pt>
                <c:pt idx="1">
                  <c:v>4.7280759313784206E-2</c:v>
                </c:pt>
                <c:pt idx="2" formatCode="#,##0\ &quot;€&quot;">
                  <c:v>100498.6</c:v>
                </c:pt>
                <c:pt idx="3">
                  <c:v>7.8172404834466663E-2</c:v>
                </c:pt>
                <c:pt idx="4" formatCode="#,##0\ &quot;€&quot;">
                  <c:v>328076.54296296305</c:v>
                </c:pt>
                <c:pt idx="5">
                  <c:v>0.20363689024854231</c:v>
                </c:pt>
                <c:pt idx="6" formatCode="#,##0\ &quot;€&quot;">
                  <c:v>416851</c:v>
                </c:pt>
                <c:pt idx="7">
                  <c:v>0.21227824398928349</c:v>
                </c:pt>
                <c:pt idx="8" formatCode="#,##0\ &quot;€&quot;">
                  <c:v>458536.10000000003</c:v>
                </c:pt>
                <c:pt idx="9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DD-4194-9937-993715C8F08C}"/>
            </c:ext>
          </c:extLst>
        </c:ser>
        <c:ser>
          <c:idx val="2"/>
          <c:order val="2"/>
          <c:tx>
            <c:strRef>
              <c:f>[EXPORT.xlsx]Feuil1!$A$39</c:f>
              <c:strCache>
                <c:ptCount val="1"/>
                <c:pt idx="0">
                  <c:v>CA hors UE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[EXPORT.xlsx]Feuil1!$B$36:$K$36</c:f>
              <c:numCache>
                <c:formatCode>General</c:formatCode>
                <c:ptCount val="10"/>
                <c:pt idx="0">
                  <c:v>2012</c:v>
                </c:pt>
                <c:pt idx="2">
                  <c:v>2013</c:v>
                </c:pt>
                <c:pt idx="4">
                  <c:v>2014</c:v>
                </c:pt>
                <c:pt idx="6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[EXPORT.xlsx]Feuil1!$B$39:$K$39</c:f>
              <c:numCache>
                <c:formatCode>0%</c:formatCode>
                <c:ptCount val="10"/>
                <c:pt idx="0" formatCode="#,##0\ &quot;€&quot;">
                  <c:v>22358</c:v>
                </c:pt>
                <c:pt idx="1">
                  <c:v>1.6428676924976099E-2</c:v>
                </c:pt>
                <c:pt idx="2" formatCode="#,##0\ &quot;€&quot;">
                  <c:v>94365.83755076924</c:v>
                </c:pt>
                <c:pt idx="3">
                  <c:v>7.3402061875113167E-2</c:v>
                </c:pt>
                <c:pt idx="4" formatCode="#,##0\ &quot;€&quot;">
                  <c:v>180508.54195342495</c:v>
                </c:pt>
                <c:pt idx="5">
                  <c:v>0.11204153096322912</c:v>
                </c:pt>
                <c:pt idx="6" formatCode="#,##0\ &quot;€&quot;">
                  <c:v>402974</c:v>
                </c:pt>
                <c:pt idx="7">
                  <c:v>0.20521148586266444</c:v>
                </c:pt>
                <c:pt idx="8" formatCode="#,##0\ &quot;€&quot;">
                  <c:v>443271.4</c:v>
                </c:pt>
                <c:pt idx="9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7DD-4194-9937-993715C8F0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470266576"/>
        <c:axId val="470729472"/>
      </c:barChart>
      <c:lineChart>
        <c:grouping val="standard"/>
        <c:varyColors val="0"/>
        <c:ser>
          <c:idx val="3"/>
          <c:order val="3"/>
          <c:tx>
            <c:strRef>
              <c:f>[EXPORT.xlsx]Feuil1!$A$40</c:f>
              <c:strCache>
                <c:ptCount val="1"/>
                <c:pt idx="0">
                  <c:v>CA Total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[EXPORT.xlsx]Feuil1!$B$36:$K$36</c:f>
              <c:numCache>
                <c:formatCode>General</c:formatCode>
                <c:ptCount val="10"/>
                <c:pt idx="0">
                  <c:v>2012</c:v>
                </c:pt>
                <c:pt idx="2">
                  <c:v>2013</c:v>
                </c:pt>
                <c:pt idx="4">
                  <c:v>2014</c:v>
                </c:pt>
                <c:pt idx="6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[EXPORT.xlsx]Feuil1!$B$40:$K$40</c:f>
              <c:numCache>
                <c:formatCode>General</c:formatCode>
                <c:ptCount val="10"/>
                <c:pt idx="0" formatCode="#,##0\ &quot;€&quot;">
                  <c:v>1360913</c:v>
                </c:pt>
                <c:pt idx="2" formatCode="#,##0\ &quot;€&quot;">
                  <c:v>1285602</c:v>
                </c:pt>
                <c:pt idx="4" formatCode="#,##0\ &quot;€&quot;">
                  <c:v>1611086</c:v>
                </c:pt>
                <c:pt idx="6" formatCode="#,##0\ &quot;€&quot;">
                  <c:v>1963701</c:v>
                </c:pt>
                <c:pt idx="8" formatCode="#,##0\ &quot;€&quot;">
                  <c:v>2160071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7DD-4194-9937-993715C8F08C}"/>
            </c:ext>
          </c:extLst>
        </c:ser>
        <c:ser>
          <c:idx val="4"/>
          <c:order val="4"/>
          <c:tx>
            <c:strRef>
              <c:f>[EXPORT.xlsx]Feuil1!$A$41</c:f>
              <c:strCache>
                <c:ptCount val="1"/>
                <c:pt idx="0">
                  <c:v>Ventes Prestations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5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[EXPORT.xlsx]Feuil1!$B$36:$K$36</c:f>
              <c:numCache>
                <c:formatCode>General</c:formatCode>
                <c:ptCount val="10"/>
                <c:pt idx="0">
                  <c:v>2012</c:v>
                </c:pt>
                <c:pt idx="2">
                  <c:v>2013</c:v>
                </c:pt>
                <c:pt idx="4">
                  <c:v>2014</c:v>
                </c:pt>
                <c:pt idx="6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[EXPORT.xlsx]Feuil1!$B$41:$K$41</c:f>
              <c:numCache>
                <c:formatCode>General</c:formatCode>
                <c:ptCount val="10"/>
                <c:pt idx="0" formatCode="#,##0">
                  <c:v>1459540</c:v>
                </c:pt>
                <c:pt idx="2" formatCode="#,##0">
                  <c:v>1548155</c:v>
                </c:pt>
                <c:pt idx="4" formatCode="#,##0">
                  <c:v>1783480</c:v>
                </c:pt>
                <c:pt idx="6" formatCode="#,##0">
                  <c:v>2077450</c:v>
                </c:pt>
                <c:pt idx="8" formatCode="#,##0">
                  <c:v>22860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DD-4194-9937-993715C8F0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0266576"/>
        <c:axId val="470729472"/>
      </c:lineChart>
      <c:catAx>
        <c:axId val="470266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70729472"/>
        <c:crosses val="autoZero"/>
        <c:auto val="1"/>
        <c:lblAlgn val="ctr"/>
        <c:lblOffset val="100"/>
        <c:noMultiLvlLbl val="0"/>
      </c:catAx>
      <c:valAx>
        <c:axId val="470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\ &quot;€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70266576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1014</cdr:x>
      <cdr:y>0.48671</cdr:y>
    </cdr:from>
    <cdr:to>
      <cdr:x>0.31304</cdr:x>
      <cdr:y>0.58092</cdr:y>
    </cdr:to>
    <cdr:sp macro="" textlink="">
      <cdr:nvSpPr>
        <cdr:cNvPr id="2" name="ZoneTexte 1"/>
        <cdr:cNvSpPr txBox="1"/>
      </cdr:nvSpPr>
      <cdr:spPr>
        <a:xfrm xmlns:a="http://schemas.openxmlformats.org/drawingml/2006/main">
          <a:off x="960782" y="1335156"/>
          <a:ext cx="470452" cy="2584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fr-BE" sz="1100"/>
        </a:p>
      </cdr:txBody>
    </cdr:sp>
  </cdr:relSizeAnchor>
  <cdr:relSizeAnchor xmlns:cdr="http://schemas.openxmlformats.org/drawingml/2006/chartDrawing">
    <cdr:from>
      <cdr:x>0.86087</cdr:x>
      <cdr:y>0.55815</cdr:y>
    </cdr:from>
    <cdr:to>
      <cdr:x>1</cdr:x>
      <cdr:y>0.6596</cdr:y>
    </cdr:to>
    <cdr:sp macro="" textlink="">
      <cdr:nvSpPr>
        <cdr:cNvPr id="7" name="ZoneTexte 6"/>
        <cdr:cNvSpPr txBox="1"/>
      </cdr:nvSpPr>
      <cdr:spPr>
        <a:xfrm xmlns:a="http://schemas.openxmlformats.org/drawingml/2006/main">
          <a:off x="6867335" y="2078959"/>
          <a:ext cx="1109868" cy="37787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fr-BE" sz="800" dirty="0">
              <a:solidFill>
                <a:schemeClr val="accent6">
                  <a:lumMod val="50000"/>
                </a:schemeClr>
              </a:solidFill>
            </a:rPr>
            <a:t>16,79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6A41CE-EF99-48B1-B824-7A5C4F59CA79}" type="datetimeFigureOut">
              <a:rPr lang="en-US" smtClean="0"/>
              <a:t>2/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2CEA-6EA2-4CFF-BC63-2BB57C9B866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949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4F2CEA-6EA2-4CFF-BC63-2BB57C9B866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926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4F2CEA-6EA2-4CFF-BC63-2BB57C9B866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8355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Nos éléments différenciateurs…</a:t>
            </a:r>
          </a:p>
          <a:p>
            <a:r>
              <a:rPr lang="fr-BE" dirty="0"/>
              <a:t>Une équipe 100%belge</a:t>
            </a:r>
          </a:p>
          <a:p>
            <a:r>
              <a:rPr lang="fr-BE" dirty="0"/>
              <a:t>Qualité européenne</a:t>
            </a:r>
          </a:p>
          <a:p>
            <a:r>
              <a:rPr lang="fr-BE" dirty="0"/>
              <a:t>Multi produit</a:t>
            </a:r>
          </a:p>
          <a:p>
            <a:pPr lvl="0"/>
            <a:r>
              <a:rPr lang="fr-BE" dirty="0"/>
              <a:t>Pérennité : expérience éprouvée offre un haut niveau de maturité de nos architectures-produits.</a:t>
            </a:r>
          </a:p>
          <a:p>
            <a:pPr lvl="0"/>
            <a:r>
              <a:rPr lang="fr-BE" dirty="0"/>
              <a:t>Business model indirecte : il nous permet d’aligner  fonctionnalités /opérations /business model.</a:t>
            </a:r>
          </a:p>
          <a:p>
            <a:pPr lvl="0"/>
            <a:r>
              <a:rPr lang="fr-BE" dirty="0"/>
              <a:t>Modularité : nos solutions et développements basés sur des standards ouverts permettant un déploiement facile et évolutif, agile et modulaire. </a:t>
            </a:r>
          </a:p>
          <a:p>
            <a:pPr lvl="0"/>
            <a:r>
              <a:rPr lang="fr-BE" dirty="0"/>
              <a:t>Interopérabilité à tout type de boitier, à tout type de solution business et à tout service provider à valeur ajoutée  (data distribution).</a:t>
            </a:r>
          </a:p>
          <a:p>
            <a:pPr lvl="0"/>
            <a:r>
              <a:rPr lang="fr-BE" dirty="0"/>
              <a:t>A la carte : conseil, développement sur mesure ou solutions spécifiques d’amélioration de la mobilité des véhicules, des personnes et des objets (</a:t>
            </a:r>
            <a:r>
              <a:rPr lang="fr-BE" dirty="0" err="1"/>
              <a:t>ItO</a:t>
            </a:r>
            <a:r>
              <a:rPr lang="fr-BE" dirty="0"/>
              <a:t>).</a:t>
            </a:r>
          </a:p>
          <a:p>
            <a:pPr lvl="0"/>
            <a:r>
              <a:rPr lang="fr-BE" dirty="0"/>
              <a:t>Marque ou non : Solutions disponibles en marque propre ou en white label</a:t>
            </a:r>
          </a:p>
          <a:p>
            <a:pPr lvl="0"/>
            <a:r>
              <a:rPr lang="fr-BE" dirty="0"/>
              <a:t>Certification : </a:t>
            </a:r>
            <a:r>
              <a:rPr lang="fr-BE" dirty="0" err="1"/>
              <a:t>Market</a:t>
            </a:r>
            <a:r>
              <a:rPr lang="fr-BE" dirty="0"/>
              <a:t> -IP est ISO9001 et nos Solutions sont certifiées par </a:t>
            </a:r>
            <a:r>
              <a:rPr lang="fr-BE" dirty="0" err="1"/>
              <a:t>Assuralia</a:t>
            </a:r>
            <a:r>
              <a:rPr lang="fr-BE" dirty="0"/>
              <a:t> pour la localisation de véhicule volé (SVR).</a:t>
            </a:r>
          </a:p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4F2CEA-6EA2-4CFF-BC63-2BB57C9B866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956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fr-BE" sz="800" dirty="0"/>
              <a:t>CA </a:t>
            </a:r>
            <a:r>
              <a:rPr lang="fr-BE" sz="800" i="1" dirty="0"/>
              <a:t>– croissance de 10-15% confirmée depuis plus de 5 ans</a:t>
            </a:r>
          </a:p>
          <a:p>
            <a:pPr lvl="1"/>
            <a:r>
              <a:rPr lang="fr-BE" sz="800" dirty="0"/>
              <a:t>Rentabilité </a:t>
            </a:r>
            <a:r>
              <a:rPr lang="fr-BE" sz="800" i="1" dirty="0"/>
              <a:t>– 8 à 17% EBIT confirmé</a:t>
            </a:r>
          </a:p>
          <a:p>
            <a:pPr lvl="1"/>
            <a:r>
              <a:rPr lang="fr-BE" sz="800" dirty="0" err="1"/>
              <a:t>Auto-financement</a:t>
            </a:r>
            <a:r>
              <a:rPr lang="fr-BE" sz="800" dirty="0"/>
              <a:t> </a:t>
            </a:r>
            <a:r>
              <a:rPr lang="fr-BE" sz="800" i="1" dirty="0"/>
              <a:t>– degré d’endettement nul</a:t>
            </a:r>
          </a:p>
          <a:p>
            <a:pPr lvl="1"/>
            <a:r>
              <a:rPr lang="fr-BE" sz="800" dirty="0"/>
              <a:t>Personnel </a:t>
            </a:r>
            <a:r>
              <a:rPr lang="fr-BE" sz="800" i="1" dirty="0"/>
              <a:t>– 20 personnes , très peu de turnover</a:t>
            </a:r>
          </a:p>
          <a:p>
            <a:pPr lvl="1"/>
            <a:r>
              <a:rPr lang="fr-BE" sz="800" i="1" dirty="0"/>
              <a:t>Des</a:t>
            </a:r>
            <a:r>
              <a:rPr lang="fr-BE" sz="800" i="1" baseline="0" dirty="0"/>
              <a:t> résultats qui nous permettent des investissements pour le futur en terme de R&amp;D (autofinancée) et une confiance totale de nos parties prenantes</a:t>
            </a:r>
            <a:endParaRPr lang="fr-BE" sz="800" i="1" dirty="0"/>
          </a:p>
          <a:p>
            <a:pPr lvl="1"/>
            <a:endParaRPr lang="fr-BE" sz="800" i="1" dirty="0"/>
          </a:p>
          <a:p>
            <a:pPr lvl="1"/>
            <a:r>
              <a:rPr lang="fr-BE" sz="800" i="1" dirty="0"/>
              <a:t>Répartition des licences (carte)</a:t>
            </a:r>
          </a:p>
          <a:p>
            <a:pPr marL="628650" lvl="1" indent="-171450">
              <a:buFontTx/>
              <a:buChar char="-"/>
            </a:pPr>
            <a:r>
              <a:rPr lang="fr-BE" sz="800" i="1" dirty="0"/>
              <a:t>39% en Belgique</a:t>
            </a:r>
          </a:p>
          <a:p>
            <a:pPr marL="628650" lvl="1" indent="-171450">
              <a:buFontTx/>
              <a:buChar char="-"/>
            </a:pPr>
            <a:r>
              <a:rPr lang="fr-BE" sz="800" i="1" dirty="0"/>
              <a:t>24% en Europe</a:t>
            </a:r>
          </a:p>
          <a:p>
            <a:pPr marL="628650" lvl="1" indent="-171450">
              <a:buFontTx/>
              <a:buChar char="-"/>
            </a:pPr>
            <a:r>
              <a:rPr lang="fr-BE" sz="800" i="1" dirty="0"/>
              <a:t>22% EN Afrique</a:t>
            </a:r>
          </a:p>
          <a:p>
            <a:pPr marL="628650" lvl="1" indent="-171450">
              <a:buFontTx/>
              <a:buChar char="-"/>
            </a:pPr>
            <a:r>
              <a:rPr lang="fr-BE" sz="800" i="1" dirty="0"/>
              <a:t>Et 15% au Moyen Ori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4F2CEA-6EA2-4CFF-BC63-2BB57C9B866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320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512" y="1484784"/>
            <a:ext cx="8784976" cy="310467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dirty="0"/>
              <a:t>Modifiez le style du titre</a:t>
            </a:r>
            <a:endParaRPr lang="fr-BE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79512" y="4589463"/>
            <a:ext cx="8784976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49AB50-587A-46FE-B9DD-41F14A2F0547}" type="datetimeFigureOut">
              <a:rPr lang="fr-BE" smtClean="0"/>
              <a:t>06-02-17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27029-ECB9-48EF-8376-711B9C634EE7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765989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BE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49AB50-587A-46FE-B9DD-41F14A2F0547}" type="datetimeFigureOut">
              <a:rPr lang="fr-BE" smtClean="0"/>
              <a:t>06-02-17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27029-ECB9-48EF-8376-711B9C634EE7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20165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38864" y="186500"/>
            <a:ext cx="5697632" cy="471692"/>
          </a:xfrm>
        </p:spPr>
        <p:txBody>
          <a:bodyPr/>
          <a:lstStyle>
            <a:lvl1pPr algn="r">
              <a:defRPr/>
            </a:lvl1pPr>
          </a:lstStyle>
          <a:p>
            <a:r>
              <a:rPr lang="fr-FR" dirty="0"/>
              <a:t>Modifiez le style du titre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7504" y="1323516"/>
            <a:ext cx="4320480" cy="4351338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BE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4008" y="1305482"/>
            <a:ext cx="4299198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49AB50-587A-46FE-B9DD-41F14A2F0547}" type="datetimeFigureOut">
              <a:rPr lang="fr-BE" smtClean="0"/>
              <a:t>06-02-17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27029-ECB9-48EF-8376-711B9C634EE7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918526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49AB50-587A-46FE-B9DD-41F14A2F0547}" type="datetimeFigureOut">
              <a:rPr lang="fr-BE" smtClean="0"/>
              <a:t>06-02-17</a:t>
            </a:fld>
            <a:endParaRPr lang="fr-BE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27029-ECB9-48EF-8376-711B9C634EE7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729627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49AB50-587A-46FE-B9DD-41F14A2F0547}" type="datetimeFigureOut">
              <a:rPr lang="fr-BE" smtClean="0"/>
              <a:t>06-02-17</a:t>
            </a:fld>
            <a:endParaRPr lang="fr-BE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27029-ECB9-48EF-8376-711B9C634EE7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790246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9375" y="1031014"/>
            <a:ext cx="362852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887788" y="1031014"/>
            <a:ext cx="5076700" cy="520629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BE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79376" y="2708919"/>
            <a:ext cx="3628528" cy="352839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49AB50-587A-46FE-B9DD-41F14A2F0547}" type="datetimeFigureOut">
              <a:rPr lang="fr-BE" smtClean="0"/>
              <a:t>06-02-17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27029-ECB9-48EF-8376-711B9C634EE7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52689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3890788" y="1031014"/>
            <a:ext cx="5076700" cy="521570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BE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49AB50-587A-46FE-B9DD-41F14A2F0547}" type="datetimeFigureOut">
              <a:rPr lang="fr-BE" smtClean="0"/>
              <a:t>06-02-17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27029-ECB9-48EF-8376-711B9C634EE7}" type="slidenum">
              <a:rPr lang="fr-BE" smtClean="0"/>
              <a:t>‹N°›</a:t>
            </a:fld>
            <a:endParaRPr lang="fr-BE"/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79375" y="1031014"/>
            <a:ext cx="362852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  <a:endParaRPr lang="fr-BE" dirty="0"/>
          </a:p>
        </p:txBody>
      </p:sp>
      <p:sp>
        <p:nvSpPr>
          <p:cNvPr id="10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79376" y="2708919"/>
            <a:ext cx="3628528" cy="352839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74133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49AB50-587A-46FE-B9DD-41F14A2F0547}" type="datetimeFigureOut">
              <a:rPr lang="fr-BE" smtClean="0"/>
              <a:t>06-02-17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27029-ECB9-48EF-8376-711B9C634EE7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74065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992813" y="1052735"/>
            <a:ext cx="1971675" cy="512422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98959" y="1052735"/>
            <a:ext cx="6804916" cy="5124227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49AB50-587A-46FE-B9DD-41F14A2F0547}" type="datetimeFigureOut">
              <a:rPr lang="fr-BE" smtClean="0"/>
              <a:t>06-02-17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27029-ECB9-48EF-8376-711B9C634EE7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389657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347864" y="186500"/>
            <a:ext cx="5688632" cy="47169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fr-FR" dirty="0"/>
              <a:t>Modifiez le style du titre</a:t>
            </a:r>
            <a:endParaRPr lang="fr-BE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859" y="1226144"/>
            <a:ext cx="8881630" cy="50090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BE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6F49AB50-587A-46FE-B9DD-41F14A2F0547}" type="datetimeFigureOut">
              <a:rPr lang="fr-BE" smtClean="0"/>
              <a:pPr/>
              <a:t>06-02-17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3CC27029-ECB9-48EF-8376-711B9C634EE7}" type="slidenum">
              <a:rPr lang="fr-BE" smtClean="0"/>
              <a:pPr/>
              <a:t>‹N°›</a:t>
            </a:fld>
            <a:endParaRPr lang="fr-BE"/>
          </a:p>
        </p:txBody>
      </p:sp>
      <p:sp>
        <p:nvSpPr>
          <p:cNvPr id="7" name="Прямоугольник 4"/>
          <p:cNvSpPr/>
          <p:nvPr userDrawn="1"/>
        </p:nvSpPr>
        <p:spPr>
          <a:xfrm>
            <a:off x="0" y="0"/>
            <a:ext cx="9144000" cy="45719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26000">
                <a:schemeClr val="tx1">
                  <a:lumMod val="40000"/>
                  <a:lumOff val="60000"/>
                </a:schemeClr>
              </a:gs>
              <a:gs pos="45000">
                <a:schemeClr val="tx1">
                  <a:lumMod val="40000"/>
                  <a:lumOff val="60000"/>
                </a:schemeClr>
              </a:gs>
              <a:gs pos="100000">
                <a:schemeClr val="tx1">
                  <a:lumMod val="20000"/>
                  <a:lumOff val="80000"/>
                </a:schemeClr>
              </a:gs>
            </a:gsLst>
            <a:lin ang="16200000" scaled="1"/>
            <a:tileRect/>
          </a:gra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3" name="Прямоугольник 4"/>
          <p:cNvSpPr/>
          <p:nvPr userDrawn="1"/>
        </p:nvSpPr>
        <p:spPr>
          <a:xfrm>
            <a:off x="-12322" y="6819757"/>
            <a:ext cx="9144000" cy="45719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26000">
                <a:schemeClr val="tx1">
                  <a:lumMod val="40000"/>
                  <a:lumOff val="60000"/>
                </a:schemeClr>
              </a:gs>
              <a:gs pos="45000">
                <a:schemeClr val="tx1">
                  <a:lumMod val="40000"/>
                  <a:lumOff val="60000"/>
                </a:schemeClr>
              </a:gs>
              <a:gs pos="100000">
                <a:schemeClr val="tx1">
                  <a:lumMod val="20000"/>
                  <a:lumOff val="80000"/>
                </a:schemeClr>
              </a:gs>
            </a:gsLst>
            <a:lin ang="16200000" scaled="1"/>
            <a:tileRect/>
          </a:gra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8" name="Rectangle : coins arrondis 7"/>
          <p:cNvSpPr/>
          <p:nvPr userDrawn="1"/>
        </p:nvSpPr>
        <p:spPr>
          <a:xfrm>
            <a:off x="-396552" y="45719"/>
            <a:ext cx="9937104" cy="875422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  <a:alpha val="0"/>
                </a:schemeClr>
              </a:gs>
              <a:gs pos="99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923"/>
          <a:stretch/>
        </p:blipFill>
        <p:spPr>
          <a:xfrm>
            <a:off x="228761" y="207087"/>
            <a:ext cx="2327015" cy="233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781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3" r:id="rId2"/>
    <p:sldLayoutId id="2147483655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4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3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36712"/>
            <a:ext cx="14135134" cy="6192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92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Mission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BE" sz="2000" dirty="0">
                <a:solidFill>
                  <a:schemeClr val="tx1">
                    <a:lumMod val="75000"/>
                  </a:schemeClr>
                </a:solidFill>
              </a:rPr>
              <a:t>Nos </a:t>
            </a:r>
            <a:r>
              <a:rPr lang="fr-BE" sz="2000" b="1" dirty="0">
                <a:solidFill>
                  <a:schemeClr val="tx1">
                    <a:lumMod val="75000"/>
                  </a:schemeClr>
                </a:solidFill>
              </a:rPr>
              <a:t>solutions logicielles innovantes </a:t>
            </a:r>
            <a:r>
              <a:rPr lang="fr-BE" sz="2000" dirty="0">
                <a:solidFill>
                  <a:schemeClr val="tx1">
                    <a:lumMod val="75000"/>
                  </a:schemeClr>
                </a:solidFill>
              </a:rPr>
              <a:t>permettent aux entreprises d’</a:t>
            </a:r>
            <a:r>
              <a:rPr lang="fr-BE" sz="2000" b="1" dirty="0">
                <a:solidFill>
                  <a:schemeClr val="tx1">
                    <a:lumMod val="75000"/>
                  </a:schemeClr>
                </a:solidFill>
              </a:rPr>
              <a:t>optimiser la mobilité</a:t>
            </a:r>
            <a:r>
              <a:rPr lang="fr-BE" sz="2000" dirty="0">
                <a:solidFill>
                  <a:schemeClr val="tx1">
                    <a:lumMod val="75000"/>
                  </a:schemeClr>
                </a:solidFill>
              </a:rPr>
              <a:t> des biens et des personnes.</a:t>
            </a:r>
          </a:p>
          <a:p>
            <a:pPr marL="0" indent="0">
              <a:buNone/>
            </a:pPr>
            <a:r>
              <a:rPr lang="fr-BE" sz="2000" dirty="0">
                <a:solidFill>
                  <a:schemeClr val="tx1">
                    <a:lumMod val="75000"/>
                  </a:schemeClr>
                </a:solidFill>
              </a:rPr>
              <a:t>Cette spécialisation repose sur notre expertise technique dans la </a:t>
            </a:r>
            <a:r>
              <a:rPr lang="fr-BE" sz="2000" b="1" dirty="0">
                <a:solidFill>
                  <a:schemeClr val="tx1">
                    <a:lumMod val="75000"/>
                  </a:schemeClr>
                </a:solidFill>
              </a:rPr>
              <a:t>télématique</a:t>
            </a:r>
            <a:r>
              <a:rPr lang="fr-BE" sz="2000" dirty="0">
                <a:solidFill>
                  <a:schemeClr val="tx1">
                    <a:lumMod val="75000"/>
                  </a:schemeClr>
                </a:solidFill>
              </a:rPr>
              <a:t> et la </a:t>
            </a:r>
            <a:r>
              <a:rPr lang="fr-BE" sz="2000" b="1" dirty="0">
                <a:solidFill>
                  <a:schemeClr val="tx1">
                    <a:lumMod val="75000"/>
                  </a:schemeClr>
                </a:solidFill>
              </a:rPr>
              <a:t>cartographie</a:t>
            </a:r>
            <a:r>
              <a:rPr lang="fr-BE" sz="2000" dirty="0">
                <a:solidFill>
                  <a:schemeClr val="tx1">
                    <a:lumMod val="75000"/>
                  </a:schemeClr>
                </a:solidFill>
              </a:rPr>
              <a:t>.</a:t>
            </a:r>
            <a:r>
              <a:rPr lang="fr-BE" sz="2400" dirty="0">
                <a:solidFill>
                  <a:schemeClr val="tx1">
                    <a:lumMod val="75000"/>
                  </a:schemeClr>
                </a:solidFill>
              </a:rPr>
              <a:t> </a:t>
            </a:r>
          </a:p>
          <a:p>
            <a:pPr marL="0" indent="0">
              <a:buNone/>
            </a:pPr>
            <a:endParaRPr lang="fr-BE" dirty="0">
              <a:solidFill>
                <a:schemeClr val="tx1">
                  <a:lumMod val="75000"/>
                </a:schemeClr>
              </a:solidFill>
            </a:endParaRPr>
          </a:p>
        </p:txBody>
      </p:sp>
      <p:grpSp>
        <p:nvGrpSpPr>
          <p:cNvPr id="5" name="Groupe 4"/>
          <p:cNvGrpSpPr/>
          <p:nvPr/>
        </p:nvGrpSpPr>
        <p:grpSpPr>
          <a:xfrm>
            <a:off x="-46530" y="3210354"/>
            <a:ext cx="1677813" cy="2001813"/>
            <a:chOff x="1207773" y="4500283"/>
            <a:chExt cx="1895869" cy="2211941"/>
          </a:xfrm>
          <a:effectLst/>
        </p:grpSpPr>
        <p:pic>
          <p:nvPicPr>
            <p:cNvPr id="6" name="Image 5"/>
            <p:cNvPicPr>
              <a:picLocks noChangeAspect="1"/>
            </p:cNvPicPr>
            <p:nvPr/>
          </p:nvPicPr>
          <p:blipFill rotWithShape="1">
            <a:blip r:embed="rId3"/>
            <a:srcRect l="13829" r="-4308" b="8166"/>
            <a:stretch/>
          </p:blipFill>
          <p:spPr>
            <a:xfrm>
              <a:off x="1263367" y="4500283"/>
              <a:ext cx="1840275" cy="189991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  <a:reflection blurRad="6350" stA="52000" endA="300" endPos="35000" dir="5400000" sy="-100000" algn="bl" rotWithShape="0"/>
            </a:effectLst>
          </p:spPr>
        </p:pic>
        <p:sp>
          <p:nvSpPr>
            <p:cNvPr id="7" name="ZoneTexte 6"/>
            <p:cNvSpPr txBox="1"/>
            <p:nvPr/>
          </p:nvSpPr>
          <p:spPr>
            <a:xfrm>
              <a:off x="1207773" y="6404447"/>
              <a:ext cx="160341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sz="1400" dirty="0">
                  <a:solidFill>
                    <a:schemeClr val="tx1">
                      <a:lumMod val="50000"/>
                    </a:schemeClr>
                  </a:solidFill>
                </a:rPr>
                <a:t>Géolocalisation</a:t>
              </a:r>
            </a:p>
          </p:txBody>
        </p:sp>
      </p:grpSp>
      <p:grpSp>
        <p:nvGrpSpPr>
          <p:cNvPr id="8" name="Groupe 7"/>
          <p:cNvGrpSpPr/>
          <p:nvPr/>
        </p:nvGrpSpPr>
        <p:grpSpPr>
          <a:xfrm>
            <a:off x="3063532" y="3210355"/>
            <a:ext cx="1524986" cy="2200481"/>
            <a:chOff x="3586099" y="2935454"/>
            <a:chExt cx="1726153" cy="2435657"/>
          </a:xfrm>
          <a:effectLst/>
        </p:grpSpPr>
        <p:pic>
          <p:nvPicPr>
            <p:cNvPr id="9" name="Image 8"/>
            <p:cNvPicPr>
              <a:picLocks noChangeAspect="1"/>
            </p:cNvPicPr>
            <p:nvPr/>
          </p:nvPicPr>
          <p:blipFill rotWithShape="1">
            <a:blip r:embed="rId4"/>
            <a:srcRect l="3952" r="3952"/>
            <a:stretch/>
          </p:blipFill>
          <p:spPr>
            <a:xfrm>
              <a:off x="3586099" y="2935454"/>
              <a:ext cx="1726153" cy="190319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  <a:reflection blurRad="6350" stA="52000" endA="300" endPos="35000" dir="5400000" sy="-100000" algn="bl" rotWithShape="0"/>
            </a:effectLst>
          </p:spPr>
        </p:pic>
        <p:sp>
          <p:nvSpPr>
            <p:cNvPr id="10" name="ZoneTexte 9"/>
            <p:cNvSpPr txBox="1"/>
            <p:nvPr/>
          </p:nvSpPr>
          <p:spPr>
            <a:xfrm>
              <a:off x="3598232" y="4847891"/>
              <a:ext cx="160341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sz="1400" dirty="0">
                  <a:solidFill>
                    <a:schemeClr val="tx1">
                      <a:lumMod val="50000"/>
                    </a:schemeClr>
                  </a:solidFill>
                </a:rPr>
                <a:t>Comportement de conduite</a:t>
              </a:r>
            </a:p>
          </p:txBody>
        </p:sp>
      </p:grpSp>
      <p:grpSp>
        <p:nvGrpSpPr>
          <p:cNvPr id="11" name="Groupe 10"/>
          <p:cNvGrpSpPr/>
          <p:nvPr/>
        </p:nvGrpSpPr>
        <p:grpSpPr>
          <a:xfrm>
            <a:off x="4570988" y="3210355"/>
            <a:ext cx="1695641" cy="2239349"/>
            <a:chOff x="5237814" y="2202830"/>
            <a:chExt cx="1909726" cy="2466289"/>
          </a:xfrm>
          <a:effectLst/>
        </p:grpSpPr>
        <p:pic>
          <p:nvPicPr>
            <p:cNvPr id="12" name="Image 11"/>
            <p:cNvPicPr>
              <a:picLocks noChangeAspect="1"/>
            </p:cNvPicPr>
            <p:nvPr/>
          </p:nvPicPr>
          <p:blipFill rotWithShape="1">
            <a:blip r:embed="rId5"/>
            <a:srcRect l="13114" t="-75" r="-6419" b="14670"/>
            <a:stretch/>
          </p:blipFill>
          <p:spPr>
            <a:xfrm>
              <a:off x="5256000" y="2202830"/>
              <a:ext cx="1891540" cy="189368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  <a:reflection blurRad="6350" stA="52000" endA="300" endPos="35000" dir="5400000" sy="-100000" algn="bl" rotWithShape="0"/>
            </a:effectLst>
          </p:spPr>
        </p:pic>
        <p:sp>
          <p:nvSpPr>
            <p:cNvPr id="13" name="ZoneTexte 12"/>
            <p:cNvSpPr txBox="1"/>
            <p:nvPr/>
          </p:nvSpPr>
          <p:spPr>
            <a:xfrm>
              <a:off x="5237814" y="4145899"/>
              <a:ext cx="160341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sz="1400" dirty="0">
                  <a:solidFill>
                    <a:schemeClr val="tx1">
                      <a:lumMod val="50000"/>
                    </a:schemeClr>
                  </a:solidFill>
                </a:rPr>
                <a:t>Optimisation de tournées</a:t>
              </a:r>
            </a:p>
          </p:txBody>
        </p:sp>
      </p:grpSp>
      <p:grpSp>
        <p:nvGrpSpPr>
          <p:cNvPr id="14" name="Groupe 13"/>
          <p:cNvGrpSpPr/>
          <p:nvPr/>
        </p:nvGrpSpPr>
        <p:grpSpPr>
          <a:xfrm>
            <a:off x="6158163" y="3210354"/>
            <a:ext cx="1569297" cy="2709743"/>
            <a:chOff x="7092524" y="2924944"/>
            <a:chExt cx="1701584" cy="2992325"/>
          </a:xfrm>
          <a:effectLst/>
        </p:grpSpPr>
        <p:pic>
          <p:nvPicPr>
            <p:cNvPr id="15" name="Image 14"/>
            <p:cNvPicPr>
              <a:picLocks noChangeAspect="1"/>
            </p:cNvPicPr>
            <p:nvPr/>
          </p:nvPicPr>
          <p:blipFill rotWithShape="1">
            <a:blip r:embed="rId6"/>
            <a:srcRect l="9697" t="87" r="3120" b="8751"/>
            <a:stretch/>
          </p:blipFill>
          <p:spPr>
            <a:xfrm>
              <a:off x="7092524" y="2924944"/>
              <a:ext cx="1701584" cy="190543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  <a:reflection blurRad="6350" stA="52000" endA="300" endPos="35000" dir="5400000" sy="-100000" algn="bl" rotWithShape="0"/>
            </a:effectLst>
          </p:spPr>
        </p:pic>
        <p:sp>
          <p:nvSpPr>
            <p:cNvPr id="16" name="ZoneTexte 15"/>
            <p:cNvSpPr txBox="1"/>
            <p:nvPr/>
          </p:nvSpPr>
          <p:spPr>
            <a:xfrm>
              <a:off x="7092524" y="4863664"/>
              <a:ext cx="1697033" cy="10536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sz="1400" dirty="0">
                  <a:solidFill>
                    <a:schemeClr val="tx1">
                      <a:lumMod val="50000"/>
                    </a:schemeClr>
                  </a:solidFill>
                </a:rPr>
                <a:t>Collecte, monitoring de données distantes</a:t>
              </a:r>
              <a:endParaRPr lang="fr-BE" sz="2000" dirty="0">
                <a:solidFill>
                  <a:schemeClr val="tx1">
                    <a:lumMod val="50000"/>
                  </a:schemeClr>
                </a:solidFill>
              </a:endParaRPr>
            </a:p>
            <a:p>
              <a:endParaRPr lang="fr-BE" sz="14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  <p:grpSp>
        <p:nvGrpSpPr>
          <p:cNvPr id="17" name="Groupe 16"/>
          <p:cNvGrpSpPr/>
          <p:nvPr/>
        </p:nvGrpSpPr>
        <p:grpSpPr>
          <a:xfrm>
            <a:off x="7663945" y="3210354"/>
            <a:ext cx="1480055" cy="2259079"/>
            <a:chOff x="1753398" y="2924945"/>
            <a:chExt cx="1603412" cy="2219534"/>
          </a:xfrm>
          <a:effectLst/>
        </p:grpSpPr>
        <p:pic>
          <p:nvPicPr>
            <p:cNvPr id="18" name="Image 17"/>
            <p:cNvPicPr>
              <a:picLocks noChangeAspect="1"/>
            </p:cNvPicPr>
            <p:nvPr/>
          </p:nvPicPr>
          <p:blipFill rotWithShape="1">
            <a:blip r:embed="rId7"/>
            <a:srcRect l="9225" r="9225" b="7045"/>
            <a:stretch/>
          </p:blipFill>
          <p:spPr>
            <a:xfrm>
              <a:off x="1753398" y="2924945"/>
              <a:ext cx="1590228" cy="169690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  <a:reflection blurRad="6350" stA="52000" endA="300" endPos="35000" dir="5400000" sy="-100000" algn="bl" rotWithShape="0"/>
            </a:effectLst>
          </p:spPr>
        </p:pic>
        <p:sp>
          <p:nvSpPr>
            <p:cNvPr id="19" name="ZoneTexte 18"/>
            <p:cNvSpPr txBox="1"/>
            <p:nvPr/>
          </p:nvSpPr>
          <p:spPr>
            <a:xfrm>
              <a:off x="1753398" y="4651465"/>
              <a:ext cx="1603412" cy="4930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sz="1400" dirty="0">
                  <a:solidFill>
                    <a:schemeClr val="tx1">
                      <a:lumMod val="50000"/>
                    </a:schemeClr>
                  </a:solidFill>
                </a:rPr>
                <a:t>Maintenance &amp; Diagnostic</a:t>
              </a:r>
            </a:p>
          </p:txBody>
        </p:sp>
      </p:grpSp>
      <p:grpSp>
        <p:nvGrpSpPr>
          <p:cNvPr id="2" name="Groupe 1"/>
          <p:cNvGrpSpPr/>
          <p:nvPr/>
        </p:nvGrpSpPr>
        <p:grpSpPr>
          <a:xfrm>
            <a:off x="1515057" y="3210355"/>
            <a:ext cx="1569916" cy="2034915"/>
            <a:chOff x="1515057" y="3210355"/>
            <a:chExt cx="1569916" cy="2034915"/>
          </a:xfrm>
        </p:grpSpPr>
        <p:sp>
          <p:nvSpPr>
            <p:cNvPr id="30" name="ZoneTexte 29"/>
            <p:cNvSpPr txBox="1"/>
            <p:nvPr/>
          </p:nvSpPr>
          <p:spPr>
            <a:xfrm>
              <a:off x="1515057" y="4937493"/>
              <a:ext cx="141899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sz="1400" dirty="0">
                  <a:solidFill>
                    <a:schemeClr val="tx1">
                      <a:lumMod val="50000"/>
                    </a:schemeClr>
                  </a:solidFill>
                </a:rPr>
                <a:t>Gestion de flotte</a:t>
              </a:r>
            </a:p>
          </p:txBody>
        </p:sp>
        <p:pic>
          <p:nvPicPr>
            <p:cNvPr id="31" name="Image 30"/>
            <p:cNvPicPr>
              <a:picLocks noChangeAspect="1"/>
            </p:cNvPicPr>
            <p:nvPr/>
          </p:nvPicPr>
          <p:blipFill rotWithShape="1">
            <a:blip r:embed="rId8"/>
            <a:srcRect r="12782" b="7882"/>
            <a:stretch/>
          </p:blipFill>
          <p:spPr>
            <a:xfrm>
              <a:off x="1548155" y="3210355"/>
              <a:ext cx="1536818" cy="1719431"/>
            </a:xfrm>
            <a:prstGeom prst="rect">
              <a:avLst/>
            </a:prstGeom>
          </p:spPr>
        </p:pic>
      </p:grpSp>
      <p:sp>
        <p:nvSpPr>
          <p:cNvPr id="21" name="Rectangle 20"/>
          <p:cNvSpPr/>
          <p:nvPr/>
        </p:nvSpPr>
        <p:spPr>
          <a:xfrm>
            <a:off x="1835696" y="5768043"/>
            <a:ext cx="759233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fr-BE" sz="1600" dirty="0">
                <a:solidFill>
                  <a:srgbClr val="C00000"/>
                </a:solidFill>
                <a:latin typeface="+mj-lt"/>
              </a:rPr>
              <a:t>Notre ADN  </a:t>
            </a:r>
          </a:p>
          <a:p>
            <a:pPr lvl="0"/>
            <a:r>
              <a:rPr lang="fr-BE" sz="1600" dirty="0">
                <a:latin typeface="+mj-lt"/>
              </a:rPr>
              <a:t>Développer des produits en évolution permanen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>
                <a:latin typeface="+mj-lt"/>
              </a:rPr>
              <a:t>A travers nos services pour les grands comptes et nos intégrate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>
                <a:latin typeface="+mj-lt"/>
              </a:rPr>
              <a:t>Via une R&amp;D permanente</a:t>
            </a:r>
          </a:p>
          <a:p>
            <a:endParaRPr lang="fr-BE" sz="24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6760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87824" y="221004"/>
            <a:ext cx="5688632" cy="471692"/>
          </a:xfrm>
        </p:spPr>
        <p:txBody>
          <a:bodyPr/>
          <a:lstStyle/>
          <a:p>
            <a:r>
              <a:rPr lang="fr-BE" dirty="0">
                <a:latin typeface="Calibri Light" panose="020F0302020204030204" pitchFamily="34" charset="0"/>
              </a:rPr>
              <a:t>Paramètres Décis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323528" y="1048681"/>
            <a:ext cx="8625654" cy="57861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BE" sz="2000" dirty="0">
                <a:latin typeface="+mj-lt"/>
              </a:rPr>
              <a:t>Marchés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BE" sz="2000" dirty="0">
                <a:latin typeface="+mj-lt"/>
              </a:rPr>
              <a:t>Situation Générale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BE" sz="2000" dirty="0">
                <a:latin typeface="+mj-lt"/>
              </a:rPr>
              <a:t>Potentiel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BE" sz="2000" dirty="0">
                <a:latin typeface="+mj-lt"/>
              </a:rPr>
              <a:t>Eloignement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BE" sz="2000" dirty="0">
                <a:latin typeface="+mj-lt"/>
              </a:rPr>
              <a:t>Besoins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BE" sz="2000" dirty="0">
                <a:latin typeface="+mj-lt"/>
              </a:rPr>
              <a:t>Prix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BE" sz="2000" dirty="0">
                <a:latin typeface="+mj-lt"/>
              </a:rPr>
              <a:t>Partenaires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BE" sz="2000" dirty="0">
                <a:latin typeface="+mj-lt"/>
              </a:rPr>
              <a:t>Activité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BE" sz="2000" dirty="0">
                <a:latin typeface="+mj-lt"/>
              </a:rPr>
              <a:t>Profil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BE" sz="2000" dirty="0">
                <a:latin typeface="+mj-lt"/>
              </a:rPr>
              <a:t>Vision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BE" sz="2000" dirty="0">
                <a:latin typeface="+mj-lt"/>
              </a:rPr>
              <a:t>Risques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BE" sz="2000" dirty="0">
                <a:latin typeface="+mj-lt"/>
              </a:rPr>
              <a:t>Image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BE" sz="2000" dirty="0">
                <a:latin typeface="+mj-lt"/>
              </a:rPr>
              <a:t>Investissement</a:t>
            </a:r>
          </a:p>
          <a:p>
            <a:pPr marL="1257300" lvl="2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BE" sz="2000" dirty="0">
                <a:latin typeface="+mj-lt"/>
              </a:rPr>
              <a:t>Financier</a:t>
            </a:r>
          </a:p>
          <a:p>
            <a:pPr marL="1257300" lvl="2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BE" sz="2000" dirty="0">
                <a:latin typeface="+mj-lt"/>
              </a:rPr>
              <a:t>Temps</a:t>
            </a:r>
            <a:endParaRPr lang="fr-BE" sz="16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grpSp>
        <p:nvGrpSpPr>
          <p:cNvPr id="4" name="Groupe 3"/>
          <p:cNvGrpSpPr/>
          <p:nvPr/>
        </p:nvGrpSpPr>
        <p:grpSpPr>
          <a:xfrm>
            <a:off x="3995936" y="2492896"/>
            <a:ext cx="4249960" cy="2996952"/>
            <a:chOff x="677863" y="368064"/>
            <a:chExt cx="7500937" cy="5089761"/>
          </a:xfrm>
        </p:grpSpPr>
        <p:sp>
          <p:nvSpPr>
            <p:cNvPr id="5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519363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6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77863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7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138238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8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71675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chemeClr val="tx1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9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271713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0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176463" y="3508375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1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289425" y="2454275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2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787775" y="2328863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3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68738" y="1814513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4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27513" y="211772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5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719763" y="1966913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6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411663" y="150812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7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48138" y="1925638"/>
              <a:ext cx="182562" cy="238125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8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73538" y="2182813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9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91000" y="235108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grpSp>
          <p:nvGrpSpPr>
            <p:cNvPr id="20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510338" y="3411538"/>
              <a:ext cx="473075" cy="212725"/>
              <a:chOff x="4488" y="2394"/>
              <a:chExt cx="358" cy="124"/>
            </a:xfrm>
          </p:grpSpPr>
          <p:sp>
            <p:nvSpPr>
              <p:cNvPr id="550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51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</p:grpSp>
        <p:sp>
          <p:nvSpPr>
            <p:cNvPr id="21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532313" y="1287463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2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795713" y="227488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3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427788" y="3013075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4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5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998538" y="2322513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6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01713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7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77900" y="237331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8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03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9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041900" y="1925638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0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272088" y="222885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1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079875" y="3232150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2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922838" y="309721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3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384675" y="210185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4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248275" y="282257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5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367338" y="282733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6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854825" y="348773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grpSp>
          <p:nvGrpSpPr>
            <p:cNvPr id="37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706688" y="5295900"/>
              <a:ext cx="65087" cy="55563"/>
              <a:chOff x="1654" y="3671"/>
              <a:chExt cx="49" cy="17"/>
            </a:xfrm>
          </p:grpSpPr>
          <p:sp>
            <p:nvSpPr>
              <p:cNvPr id="548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49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</p:grpSp>
        <p:sp>
          <p:nvSpPr>
            <p:cNvPr id="38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354263" y="3090863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9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09825" y="3097213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40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22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41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36813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42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16175" y="3081338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43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65388" y="3109913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44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473325" y="3106738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45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473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46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73325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47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79675" y="3155950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48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86025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49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95550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50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517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51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479675" y="3271838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52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65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53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484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54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966913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grpSp>
          <p:nvGrpSpPr>
            <p:cNvPr id="55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092325" y="2817813"/>
              <a:ext cx="131763" cy="195262"/>
              <a:chOff x="1199" y="2121"/>
              <a:chExt cx="97" cy="123"/>
            </a:xfrm>
          </p:grpSpPr>
          <p:sp>
            <p:nvSpPr>
              <p:cNvPr id="538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39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40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41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42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43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44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45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46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47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</p:grpSp>
        <p:sp>
          <p:nvSpPr>
            <p:cNvPr id="56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905750" y="424497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57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915275" y="4335463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58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029575" y="4244975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59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29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grpSp>
          <p:nvGrpSpPr>
            <p:cNvPr id="60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720013" y="4738688"/>
              <a:ext cx="458787" cy="404812"/>
              <a:chOff x="5372" y="3323"/>
              <a:chExt cx="341" cy="253"/>
            </a:xfrm>
          </p:grpSpPr>
          <p:sp>
            <p:nvSpPr>
              <p:cNvPr id="535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36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37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</p:grpSp>
        <p:sp>
          <p:nvSpPr>
            <p:cNvPr id="61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362825" y="339566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62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089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63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112125" y="4306888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64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26325" y="3384550"/>
              <a:ext cx="158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65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85063" y="332898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66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597775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67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750175" y="3916363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68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813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69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670800" y="370681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70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613650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71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813675" y="4013200"/>
              <a:ext cx="31750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72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769225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73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802563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74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823200" y="3994150"/>
              <a:ext cx="158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75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777163" y="3987800"/>
              <a:ext cx="14287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76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770813" y="3968750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77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851775" y="369570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grpSp>
          <p:nvGrpSpPr>
            <p:cNvPr id="78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726363" y="3367088"/>
              <a:ext cx="163512" cy="114300"/>
              <a:chOff x="5379" y="2466"/>
              <a:chExt cx="122" cy="71"/>
            </a:xfrm>
          </p:grpSpPr>
          <p:sp>
            <p:nvSpPr>
              <p:cNvPr id="526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27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28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29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30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31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32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33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34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</p:grpSp>
        <p:sp>
          <p:nvSpPr>
            <p:cNvPr id="79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310313" y="322897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80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09925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81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511800" y="5207000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82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666038" y="197802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83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842250" y="201136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84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291388" y="224155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85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105650" y="280352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86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123113" y="273843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87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011988" y="2587625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88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63975" y="171450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89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49688" y="148272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90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330825" y="3260725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91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033963" y="3122613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grpSp>
          <p:nvGrpSpPr>
            <p:cNvPr id="92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5805488" y="3309938"/>
              <a:ext cx="46037" cy="374650"/>
              <a:chOff x="3950" y="2430"/>
              <a:chExt cx="36" cy="234"/>
            </a:xfrm>
          </p:grpSpPr>
          <p:sp>
            <p:nvSpPr>
              <p:cNvPr id="495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96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97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98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99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00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01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02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03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04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05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06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07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08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09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10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11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12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13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14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15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16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17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18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19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20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21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22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23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24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525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</p:grpSp>
        <p:grpSp>
          <p:nvGrpSpPr>
            <p:cNvPr id="93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870825" y="3810000"/>
              <a:ext cx="185738" cy="214313"/>
              <a:chOff x="5486" y="2743"/>
              <a:chExt cx="137" cy="132"/>
            </a:xfrm>
          </p:grpSpPr>
          <p:sp>
            <p:nvSpPr>
              <p:cNvPr id="486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87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88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89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90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91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92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93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94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</p:grpSp>
        <p:sp>
          <p:nvSpPr>
            <p:cNvPr id="94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16400" y="354806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95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140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96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938838" y="2014538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97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265363" y="3981450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98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479675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grpSp>
          <p:nvGrpSpPr>
            <p:cNvPr id="99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2193925" y="3246438"/>
              <a:ext cx="323850" cy="401637"/>
              <a:chOff x="1486" y="2412"/>
              <a:chExt cx="244" cy="256"/>
            </a:xfrm>
          </p:grpSpPr>
          <p:sp>
            <p:nvSpPr>
              <p:cNvPr id="482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83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84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85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</p:grpSp>
        <p:sp>
          <p:nvSpPr>
            <p:cNvPr id="100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215188" y="478631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01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331075" y="4919663"/>
              <a:ext cx="158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02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7421563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03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421563" y="4918075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04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720013" y="4387850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05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6363" y="431482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06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02550" y="429101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07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621588" y="4168775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08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7615238" y="4135438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09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615238" y="4119563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10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621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11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575550" y="4040188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12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89838" y="398303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13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96188" y="397668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14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612063" y="3957638"/>
              <a:ext cx="158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15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7612063" y="3976688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16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596188" y="3960813"/>
              <a:ext cx="158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17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316788" y="4949825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18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454900" y="4168775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19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388225" y="4090988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20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404100" y="4003675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21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243763" y="4006850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22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488238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23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724650" y="397668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24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211263" y="2643188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25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486025" y="4283075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26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655888" y="3487738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27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170113" y="3046413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28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29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501900" y="5380038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30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501900" y="5359400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31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471738" y="5353050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32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446338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33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422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34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416175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35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316163" y="5002213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36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46325" y="5097463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37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51088" y="5119688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38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65375" y="5181600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39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352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40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382838" y="5227638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41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379663" y="5260975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42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403475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43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405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44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479675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45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517775" y="5314950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46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070100" y="3081338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47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927225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48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232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49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800225" y="3106738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50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720850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51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768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52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800225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53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817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54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868488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55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949450" y="3376613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56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630488" y="4630738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57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76713" y="124777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58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03688" y="147796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59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443413" y="2319338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60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151313" y="2159000"/>
              <a:ext cx="84137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61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089400" y="1978025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62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70350" y="204152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63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830763" y="259556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64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779963" y="2647950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65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781425" y="1901825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66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594100" y="2813050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67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709988" y="2873375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68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808413" y="247967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69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244975" y="261461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70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197350" y="247967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71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79813" y="279082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72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548063" y="159861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73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340225" y="186213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74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227513" y="1525588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75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365625" y="183991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76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810000" y="200183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77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762500" y="253047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78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370388" y="3322638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79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306888" y="349091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80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243388" y="3590925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81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225925" y="3590925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82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759325" y="399573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83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494213" y="423545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84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5067300" y="4037013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85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743450" y="3735388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86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732338" y="3695700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87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041900" y="2395538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88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065713" y="305276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89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260975" y="282733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90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948238" y="2479675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91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448300" y="243998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92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480050" y="2489200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93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270625" y="2757488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94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594100" y="326707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95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678238" y="3349625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96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721100" y="3400425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97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935413" y="331946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98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587750" y="323532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199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013200" y="3313113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00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038600" y="327501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01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767263" y="4479925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02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03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880225" y="229076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04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951538" y="2705100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05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167438" y="2760663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06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157913" y="283210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07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475413" y="2947988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08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557963" y="3198813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09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959600" y="2435225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10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527925" y="373221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11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7720013" y="3716338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12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5995988" y="3349625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grpSp>
          <p:nvGrpSpPr>
            <p:cNvPr id="213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6935788" y="3060700"/>
              <a:ext cx="233362" cy="439738"/>
              <a:chOff x="5062" y="2295"/>
              <a:chExt cx="177" cy="279"/>
            </a:xfrm>
          </p:grpSpPr>
          <p:sp>
            <p:nvSpPr>
              <p:cNvPr id="458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59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60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61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62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63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64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65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66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67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68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69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70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71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72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73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74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75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76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77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78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79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80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81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</p:grpSp>
        <p:sp>
          <p:nvSpPr>
            <p:cNvPr id="214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280275" y="3879850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15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356475" y="381952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16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404100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17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388225" y="366871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18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213600" y="356552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19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140575" y="3700463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20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148513" y="3886200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21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261225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22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121525" y="3700463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23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165975" y="374808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24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967538" y="3951288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25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065963" y="3989388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26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899275" y="3921125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27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943725" y="390683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28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996113" y="3916363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29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048500" y="3921125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30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121525" y="391318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31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696075" y="372745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32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642100" y="3700463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33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477000" y="368458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34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6502400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35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499225" y="372110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36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400800" y="356552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37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929438" y="392906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38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7445375" y="3886200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39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383338" y="346868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40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724650" y="3517900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41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080250" y="392430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42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196138" y="359092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43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208838" y="373538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44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285038" y="365918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45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973888" y="359727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46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638925" y="383857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47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319963" y="3695700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48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851525" y="2527300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49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308475" y="1931988"/>
              <a:ext cx="220663" cy="177800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50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371975" y="213677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51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471988" y="1792288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52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484688" y="2139950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53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2484438" y="3178175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54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589463" y="2132013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55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506913" y="201453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56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018088" y="235743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57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561013" y="237172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58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610225" y="230028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59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216525" y="231616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60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425950" y="2203450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61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473575" y="2311400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62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63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041900" y="327501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64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049838" y="3262313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65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848225" y="3173413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66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1708150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67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708150" y="3700463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68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716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grpSp>
          <p:nvGrpSpPr>
            <p:cNvPr id="269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1708150" y="3622675"/>
              <a:ext cx="417513" cy="201613"/>
              <a:chOff x="912" y="2626"/>
              <a:chExt cx="311" cy="127"/>
            </a:xfrm>
          </p:grpSpPr>
          <p:sp>
            <p:nvSpPr>
              <p:cNvPr id="455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56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57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</p:grpSp>
        <p:sp>
          <p:nvSpPr>
            <p:cNvPr id="270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356225" y="434022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71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327650" y="436721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grpSp>
          <p:nvGrpSpPr>
            <p:cNvPr id="272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5168900" y="3859213"/>
              <a:ext cx="168275" cy="103187"/>
              <a:chOff x="3481" y="2773"/>
              <a:chExt cx="125" cy="65"/>
            </a:xfrm>
          </p:grpSpPr>
          <p:sp>
            <p:nvSpPr>
              <p:cNvPr id="444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45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46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47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48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49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50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51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52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53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54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</p:grpSp>
        <p:sp>
          <p:nvSpPr>
            <p:cNvPr id="273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297363" y="3851275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74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308475" y="3824288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75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410075" y="436721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76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grpSp>
          <p:nvGrpSpPr>
            <p:cNvPr id="277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3341688" y="3136900"/>
              <a:ext cx="80962" cy="82550"/>
              <a:chOff x="2352" y="2343"/>
              <a:chExt cx="65" cy="53"/>
            </a:xfrm>
          </p:grpSpPr>
          <p:sp>
            <p:nvSpPr>
              <p:cNvPr id="438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39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40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41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42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43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</p:grpSp>
        <p:grpSp>
          <p:nvGrpSpPr>
            <p:cNvPr id="278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1187450" y="1196975"/>
              <a:ext cx="1897063" cy="1133475"/>
              <a:chOff x="527" y="1110"/>
              <a:chExt cx="1410" cy="709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396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397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398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399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00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01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02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03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04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05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06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07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08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09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10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11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12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13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14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15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16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17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18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19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20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21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22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23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24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25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26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27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28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29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30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31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32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33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34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35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36" name="Freeform 432"/>
              <p:cNvSpPr>
                <a:spLocks/>
              </p:cNvSpPr>
              <p:nvPr/>
            </p:nvSpPr>
            <p:spPr bwMode="auto">
              <a:xfrm flipV="1">
                <a:off x="1584" y="1216"/>
                <a:ext cx="32" cy="29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437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</p:grpSp>
        <p:sp>
          <p:nvSpPr>
            <p:cNvPr id="279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757738" y="354171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80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864100" y="369252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81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354513" y="292893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82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030663" y="231140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grpSp>
          <p:nvGrpSpPr>
            <p:cNvPr id="283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2330450" y="4371975"/>
              <a:ext cx="384175" cy="1031875"/>
              <a:chOff x="1589" y="3126"/>
              <a:chExt cx="290" cy="657"/>
            </a:xfrm>
          </p:grpSpPr>
          <p:sp>
            <p:nvSpPr>
              <p:cNvPr id="393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394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395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</p:grpSp>
        <p:sp>
          <p:nvSpPr>
            <p:cNvPr id="284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040313" y="232410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85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506913" y="189706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86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364038" y="2228850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87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2728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88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4522788" y="226377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89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878263" y="319087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90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225925" y="325913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91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6677025" y="301783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92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2032000" y="3281363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93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284663" y="354965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94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316413" y="219233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95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267200" y="205105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96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230688" y="1906588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97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202113" y="191135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98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171950" y="185737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299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506911" y="368064"/>
              <a:ext cx="273050" cy="307976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00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198938" y="229711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01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838575" y="2047875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02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919663" y="228282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03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468813" y="234315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04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552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05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632200" y="326707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06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676900" y="2530475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07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3798888" y="3325813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08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867275" y="3521075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09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849813" y="2606675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10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148263" y="270986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11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435475" y="1844675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12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846638" y="256540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13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14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433888" y="189230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15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140200" y="2078038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16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837113" y="396240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17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329113" y="253365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18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648200" y="4154488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19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560888" y="393065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20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297363" y="420370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21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3576638" y="313372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22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4749800" y="3695700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chemeClr val="tx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23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313613" y="220980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24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172325" y="221138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25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142163" y="256540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26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088188" y="2579688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27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104063" y="2341563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28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687888" y="123190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29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830763" y="12144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30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867275" y="12223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31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400675" y="140811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32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310188" y="126682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33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332413" y="1225550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34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476875" y="134143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35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530850" y="1225550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36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591175" y="1250950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37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5708650" y="126523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38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235700" y="139065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39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302375" y="140811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40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332538" y="141922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41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103938" y="1392238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42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403975" y="133350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43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564313" y="134143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44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524625" y="1389063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45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503988" y="1385888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46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6505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47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5675313" y="131286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48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424613" y="138430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49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378575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50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6878638" y="191770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51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172325" y="1439863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52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308850" y="179228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53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458075" y="1905000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54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508875" y="192087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55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373938" y="204787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56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385050" y="2076450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57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7372350" y="2159000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58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350125" y="219392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59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7350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60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104063" y="1781175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61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4419600" y="192087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62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868863" y="1512888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63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903788" y="132556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64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695825" y="163671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65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7000875" y="193357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grpSp>
          <p:nvGrpSpPr>
            <p:cNvPr id="366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5791200" y="1889125"/>
              <a:ext cx="671513" cy="384175"/>
              <a:chOff x="4115" y="1551"/>
              <a:chExt cx="504" cy="244"/>
            </a:xfrm>
          </p:grpSpPr>
          <p:sp>
            <p:nvSpPr>
              <p:cNvPr id="391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392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BE" dirty="0"/>
              </a:p>
            </p:txBody>
          </p:sp>
        </p:grpSp>
        <p:sp>
          <p:nvSpPr>
            <p:cNvPr id="367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4848225" y="2638425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68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322763" y="218281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69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062413" y="239553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70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3654425" y="274161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71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595688" y="2757488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72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3570288" y="275113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73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4841875" y="247967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74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6935788" y="2860675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grpSp>
          <p:nvGrpSpPr>
            <p:cNvPr id="375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4583113" y="2328863"/>
              <a:ext cx="482600" cy="201612"/>
              <a:chOff x="3289" y="1830"/>
              <a:chExt cx="363" cy="128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386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387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388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389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  <p:sp>
            <p:nvSpPr>
              <p:cNvPr id="390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BE" dirty="0"/>
              </a:p>
            </p:txBody>
          </p:sp>
        </p:grpSp>
        <p:sp>
          <p:nvSpPr>
            <p:cNvPr id="376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2571750" y="3481388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77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516688" y="291782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78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604000" y="360362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79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295900" y="286226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80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4022725" y="291623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81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3692525" y="253365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82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392613" y="146367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83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4903788" y="144780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84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5046663" y="14303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  <p:sp>
          <p:nvSpPr>
            <p:cNvPr id="385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5083175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BE" dirty="0"/>
            </a:p>
          </p:txBody>
        </p:sp>
      </p:grpSp>
    </p:spTree>
    <p:extLst>
      <p:ext uri="{BB962C8B-B14F-4D97-AF65-F5344CB8AC3E}">
        <p14:creationId xmlns:p14="http://schemas.microsoft.com/office/powerpoint/2010/main" val="285086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>
                <a:latin typeface="+mj-lt"/>
              </a:rPr>
              <a:t>Résultats</a:t>
            </a:r>
          </a:p>
        </p:txBody>
      </p:sp>
      <p:sp>
        <p:nvSpPr>
          <p:cNvPr id="14" name="Rectangle : coins arrondis 13"/>
          <p:cNvSpPr/>
          <p:nvPr/>
        </p:nvSpPr>
        <p:spPr>
          <a:xfrm>
            <a:off x="1099413" y="3140968"/>
            <a:ext cx="962629" cy="277384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 dirty="0">
                <a:latin typeface="Arial" panose="020B0604020202020204" pitchFamily="34" charset="0"/>
                <a:cs typeface="Arial" panose="020B0604020202020204" pitchFamily="34" charset="0"/>
              </a:rPr>
              <a:t>Oman</a:t>
            </a:r>
          </a:p>
        </p:txBody>
      </p:sp>
      <p:sp>
        <p:nvSpPr>
          <p:cNvPr id="18" name="Rectangle : coins arrondis 17"/>
          <p:cNvSpPr/>
          <p:nvPr/>
        </p:nvSpPr>
        <p:spPr>
          <a:xfrm>
            <a:off x="2906509" y="3055345"/>
            <a:ext cx="1095115" cy="359050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 dirty="0">
                <a:latin typeface="Arial" panose="020B0604020202020204" pitchFamily="34" charset="0"/>
                <a:cs typeface="Arial" panose="020B0604020202020204" pitchFamily="34" charset="0"/>
              </a:rPr>
              <a:t>Nouvelle Calédonie</a:t>
            </a:r>
          </a:p>
        </p:txBody>
      </p:sp>
      <p:sp>
        <p:nvSpPr>
          <p:cNvPr id="19" name="Rectangle : coins arrondis 18"/>
          <p:cNvSpPr/>
          <p:nvPr/>
        </p:nvSpPr>
        <p:spPr>
          <a:xfrm>
            <a:off x="3797826" y="2709152"/>
            <a:ext cx="999609" cy="247798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 dirty="0">
                <a:latin typeface="Arial" panose="020B0604020202020204" pitchFamily="34" charset="0"/>
                <a:cs typeface="Arial" panose="020B0604020202020204" pitchFamily="34" charset="0"/>
              </a:rPr>
              <a:t>Maroc</a:t>
            </a:r>
          </a:p>
        </p:txBody>
      </p:sp>
      <p:sp>
        <p:nvSpPr>
          <p:cNvPr id="20" name="Rectangle : coins arrondis 19"/>
          <p:cNvSpPr/>
          <p:nvPr/>
        </p:nvSpPr>
        <p:spPr>
          <a:xfrm>
            <a:off x="4663810" y="3126363"/>
            <a:ext cx="792088" cy="320270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 dirty="0">
                <a:latin typeface="Arial" panose="020B0604020202020204" pitchFamily="34" charset="0"/>
                <a:cs typeface="Arial" panose="020B0604020202020204" pitchFamily="34" charset="0"/>
              </a:rPr>
              <a:t>Qatar</a:t>
            </a:r>
          </a:p>
        </p:txBody>
      </p:sp>
      <p:sp>
        <p:nvSpPr>
          <p:cNvPr id="22" name="Rectangle : coins arrondis 21"/>
          <p:cNvSpPr/>
          <p:nvPr/>
        </p:nvSpPr>
        <p:spPr>
          <a:xfrm>
            <a:off x="5719517" y="2830516"/>
            <a:ext cx="1038040" cy="320020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 dirty="0">
                <a:latin typeface="Arial" panose="020B0604020202020204" pitchFamily="34" charset="0"/>
                <a:cs typeface="Arial" panose="020B0604020202020204" pitchFamily="34" charset="0"/>
              </a:rPr>
              <a:t>Sénégal</a:t>
            </a:r>
          </a:p>
        </p:txBody>
      </p:sp>
      <p:sp>
        <p:nvSpPr>
          <p:cNvPr id="23" name="Rectangle : coins arrondis 22"/>
          <p:cNvSpPr/>
          <p:nvPr/>
        </p:nvSpPr>
        <p:spPr>
          <a:xfrm>
            <a:off x="5894022" y="3284984"/>
            <a:ext cx="1038040" cy="289830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 dirty="0">
                <a:latin typeface="Arial" panose="020B0604020202020204" pitchFamily="34" charset="0"/>
                <a:cs typeface="Arial" panose="020B0604020202020204" pitchFamily="34" charset="0"/>
              </a:rPr>
              <a:t>Djibouti</a:t>
            </a:r>
          </a:p>
        </p:txBody>
      </p:sp>
      <p:sp>
        <p:nvSpPr>
          <p:cNvPr id="31" name="Arrondir un rectangle avec un coin diagonal 12"/>
          <p:cNvSpPr/>
          <p:nvPr/>
        </p:nvSpPr>
        <p:spPr>
          <a:xfrm>
            <a:off x="7812360" y="5886347"/>
            <a:ext cx="1152128" cy="689867"/>
          </a:xfrm>
          <a:prstGeom prst="round2Diag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4800" dirty="0">
                <a:solidFill>
                  <a:schemeClr val="tx2"/>
                </a:solidFill>
              </a:rPr>
              <a:t>     </a:t>
            </a:r>
            <a:endParaRPr lang="fr-BE" sz="2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4" name="ZoneTexte 23"/>
              <p:cNvSpPr txBox="1"/>
              <p:nvPr/>
            </p:nvSpPr>
            <p:spPr>
              <a:xfrm>
                <a:off x="7946522" y="5948988"/>
                <a:ext cx="936397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BE" dirty="0">
                    <a:solidFill>
                      <a:srgbClr val="C00000"/>
                    </a:solidFill>
                  </a:rPr>
                  <a:t>+ 13% </a:t>
                </a:r>
                <a14:m>
                  <m:oMath xmlns:m="http://schemas.openxmlformats.org/officeDocument/2006/math">
                    <m:r>
                      <a:rPr lang="fr-BE" i="1" smtClean="0">
                        <a:latin typeface="Cambria Math" panose="02040503050406030204" pitchFamily="18" charset="0"/>
                        <a:sym typeface="Wingdings 3" panose="05040102010807070707" pitchFamily="18" charset="2"/>
                      </a:rPr>
                      <m:t></m:t>
                    </m:r>
                    <m:r>
                      <a:rPr lang="fr-BE" b="0" i="1" smtClean="0">
                        <a:latin typeface="Cambria Math" panose="02040503050406030204" pitchFamily="18" charset="0"/>
                        <a:sym typeface="Wingdings 3" panose="05040102010807070707" pitchFamily="18" charset="2"/>
                      </a:rPr>
                      <m:t>/</m:t>
                    </m:r>
                    <m:r>
                      <a:rPr lang="fr-BE" b="0" i="1" smtClean="0">
                        <a:latin typeface="Cambria Math" panose="02040503050406030204" pitchFamily="18" charset="0"/>
                        <a:sym typeface="Wingdings 3" panose="05040102010807070707" pitchFamily="18" charset="2"/>
                      </a:rPr>
                      <m:t>𝑎𝑛</m:t>
                    </m:r>
                  </m:oMath>
                </a14:m>
                <a:endParaRPr lang="fr-BE" dirty="0">
                  <a:latin typeface="+mj-lt"/>
                </a:endParaRPr>
              </a:p>
            </p:txBody>
          </p:sp>
        </mc:Choice>
        <mc:Fallback>
          <p:sp>
            <p:nvSpPr>
              <p:cNvPr id="24" name="ZoneTexte 2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46522" y="5948988"/>
                <a:ext cx="936397" cy="646331"/>
              </a:xfrm>
              <a:prstGeom prst="rect">
                <a:avLst/>
              </a:prstGeom>
              <a:blipFill>
                <a:blip r:embed="rId3"/>
                <a:stretch>
                  <a:fillRect l="-5882" t="-5660" b="-6604"/>
                </a:stretch>
              </a:blipFill>
            </p:spPr>
            <p:txBody>
              <a:bodyPr/>
              <a:lstStyle/>
              <a:p>
                <a:r>
                  <a:rPr lang="fr-B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32" name="Graphique 3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5310476"/>
              </p:ext>
            </p:extLst>
          </p:nvPr>
        </p:nvGraphicFramePr>
        <p:xfrm>
          <a:off x="-480826" y="3000206"/>
          <a:ext cx="7977203" cy="37247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Rectangle : coins arrondis 20"/>
          <p:cNvSpPr/>
          <p:nvPr/>
        </p:nvSpPr>
        <p:spPr>
          <a:xfrm>
            <a:off x="5231631" y="2498574"/>
            <a:ext cx="1038040" cy="336657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 dirty="0">
                <a:latin typeface="Arial" panose="020B0604020202020204" pitchFamily="34" charset="0"/>
                <a:cs typeface="Arial" panose="020B0604020202020204" pitchFamily="34" charset="0"/>
              </a:rPr>
              <a:t>Tanzanie</a:t>
            </a:r>
          </a:p>
        </p:txBody>
      </p:sp>
      <p:pic>
        <p:nvPicPr>
          <p:cNvPr id="1133" name="Image 113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79858" y="2701428"/>
            <a:ext cx="943541" cy="582185"/>
          </a:xfrm>
          <a:prstGeom prst="rect">
            <a:avLst/>
          </a:prstGeom>
        </p:spPr>
      </p:pic>
      <p:sp>
        <p:nvSpPr>
          <p:cNvPr id="573" name="Rectangle : coins arrondis 572"/>
          <p:cNvSpPr/>
          <p:nvPr/>
        </p:nvSpPr>
        <p:spPr>
          <a:xfrm>
            <a:off x="227326" y="1403122"/>
            <a:ext cx="999609" cy="295985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 dirty="0">
                <a:latin typeface="Arial" panose="020B0604020202020204" pitchFamily="34" charset="0"/>
                <a:cs typeface="Arial" panose="020B0604020202020204" pitchFamily="34" charset="0"/>
              </a:rPr>
              <a:t>France</a:t>
            </a:r>
          </a:p>
        </p:txBody>
      </p:sp>
      <p:sp>
        <p:nvSpPr>
          <p:cNvPr id="574" name="Rectangle : coins arrondis 573"/>
          <p:cNvSpPr/>
          <p:nvPr/>
        </p:nvSpPr>
        <p:spPr>
          <a:xfrm>
            <a:off x="599608" y="2079142"/>
            <a:ext cx="999609" cy="295985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 dirty="0">
                <a:latin typeface="Arial" panose="020B0604020202020204" pitchFamily="34" charset="0"/>
                <a:cs typeface="Arial" panose="020B0604020202020204" pitchFamily="34" charset="0"/>
              </a:rPr>
              <a:t>Suède</a:t>
            </a:r>
          </a:p>
        </p:txBody>
      </p:sp>
      <p:sp>
        <p:nvSpPr>
          <p:cNvPr id="575" name="Rectangle : coins arrondis 574"/>
          <p:cNvSpPr/>
          <p:nvPr/>
        </p:nvSpPr>
        <p:spPr>
          <a:xfrm>
            <a:off x="467544" y="1722570"/>
            <a:ext cx="999609" cy="295985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 dirty="0">
                <a:latin typeface="Arial" panose="020B0604020202020204" pitchFamily="34" charset="0"/>
                <a:cs typeface="Arial" panose="020B0604020202020204" pitchFamily="34" charset="0"/>
              </a:rPr>
              <a:t>Suisse</a:t>
            </a:r>
          </a:p>
        </p:txBody>
      </p:sp>
      <p:grpSp>
        <p:nvGrpSpPr>
          <p:cNvPr id="1377" name="Group 341"/>
          <p:cNvGrpSpPr/>
          <p:nvPr/>
        </p:nvGrpSpPr>
        <p:grpSpPr>
          <a:xfrm>
            <a:off x="4385105" y="1675038"/>
            <a:ext cx="1240707" cy="1526348"/>
            <a:chOff x="4097338" y="2217738"/>
            <a:chExt cx="1139825" cy="1274763"/>
          </a:xfrm>
          <a:solidFill>
            <a:srgbClr val="8C9CA6">
              <a:lumMod val="60000"/>
              <a:lumOff val="40000"/>
            </a:srgbClr>
          </a:solidFill>
        </p:grpSpPr>
        <p:sp>
          <p:nvSpPr>
            <p:cNvPr id="1378" name="Freeform 5"/>
            <p:cNvSpPr>
              <a:spLocks/>
            </p:cNvSpPr>
            <p:nvPr/>
          </p:nvSpPr>
          <p:spPr bwMode="auto">
            <a:xfrm>
              <a:off x="5102225" y="3086100"/>
              <a:ext cx="120650" cy="233363"/>
            </a:xfrm>
            <a:custGeom>
              <a:avLst/>
              <a:gdLst/>
              <a:ahLst/>
              <a:cxnLst>
                <a:cxn ang="0">
                  <a:pos x="9" y="114"/>
                </a:cxn>
                <a:cxn ang="0">
                  <a:pos x="18" y="94"/>
                </a:cxn>
                <a:cxn ang="0">
                  <a:pos x="11" y="71"/>
                </a:cxn>
                <a:cxn ang="0">
                  <a:pos x="40" y="43"/>
                </a:cxn>
                <a:cxn ang="0">
                  <a:pos x="71" y="13"/>
                </a:cxn>
                <a:cxn ang="0">
                  <a:pos x="73" y="0"/>
                </a:cxn>
                <a:cxn ang="0">
                  <a:pos x="91" y="42"/>
                </a:cxn>
                <a:cxn ang="0">
                  <a:pos x="91" y="49"/>
                </a:cxn>
                <a:cxn ang="0">
                  <a:pos x="84" y="47"/>
                </a:cxn>
                <a:cxn ang="0">
                  <a:pos x="64" y="126"/>
                </a:cxn>
                <a:cxn ang="0">
                  <a:pos x="25" y="175"/>
                </a:cxn>
                <a:cxn ang="0">
                  <a:pos x="5" y="151"/>
                </a:cxn>
                <a:cxn ang="0">
                  <a:pos x="5" y="140"/>
                </a:cxn>
                <a:cxn ang="0">
                  <a:pos x="0" y="122"/>
                </a:cxn>
                <a:cxn ang="0">
                  <a:pos x="9" y="114"/>
                </a:cxn>
              </a:cxnLst>
              <a:rect l="0" t="0" r="r" b="b"/>
              <a:pathLst>
                <a:path w="91" h="175">
                  <a:moveTo>
                    <a:pt x="9" y="114"/>
                  </a:moveTo>
                  <a:cubicBezTo>
                    <a:pt x="9" y="114"/>
                    <a:pt x="18" y="95"/>
                    <a:pt x="18" y="94"/>
                  </a:cubicBezTo>
                  <a:cubicBezTo>
                    <a:pt x="18" y="89"/>
                    <a:pt x="11" y="78"/>
                    <a:pt x="11" y="71"/>
                  </a:cubicBezTo>
                  <a:cubicBezTo>
                    <a:pt x="11" y="49"/>
                    <a:pt x="27" y="50"/>
                    <a:pt x="40" y="43"/>
                  </a:cubicBezTo>
                  <a:cubicBezTo>
                    <a:pt x="50" y="37"/>
                    <a:pt x="64" y="20"/>
                    <a:pt x="71" y="13"/>
                  </a:cubicBezTo>
                  <a:cubicBezTo>
                    <a:pt x="73" y="11"/>
                    <a:pt x="72" y="4"/>
                    <a:pt x="73" y="0"/>
                  </a:cubicBezTo>
                  <a:cubicBezTo>
                    <a:pt x="88" y="2"/>
                    <a:pt x="87" y="31"/>
                    <a:pt x="91" y="42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89" y="48"/>
                    <a:pt x="85" y="47"/>
                    <a:pt x="84" y="47"/>
                  </a:cubicBezTo>
                  <a:cubicBezTo>
                    <a:pt x="84" y="79"/>
                    <a:pt x="74" y="101"/>
                    <a:pt x="64" y="126"/>
                  </a:cubicBezTo>
                  <a:cubicBezTo>
                    <a:pt x="56" y="146"/>
                    <a:pt x="52" y="175"/>
                    <a:pt x="25" y="175"/>
                  </a:cubicBezTo>
                  <a:cubicBezTo>
                    <a:pt x="14" y="175"/>
                    <a:pt x="5" y="163"/>
                    <a:pt x="5" y="151"/>
                  </a:cubicBezTo>
                  <a:cubicBezTo>
                    <a:pt x="5" y="145"/>
                    <a:pt x="6" y="143"/>
                    <a:pt x="5" y="140"/>
                  </a:cubicBezTo>
                  <a:cubicBezTo>
                    <a:pt x="0" y="136"/>
                    <a:pt x="0" y="129"/>
                    <a:pt x="0" y="122"/>
                  </a:cubicBezTo>
                  <a:cubicBezTo>
                    <a:pt x="0" y="121"/>
                    <a:pt x="8" y="114"/>
                    <a:pt x="9" y="114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9" name="Freeform 6"/>
            <p:cNvSpPr>
              <a:spLocks/>
            </p:cNvSpPr>
            <p:nvPr/>
          </p:nvSpPr>
          <p:spPr bwMode="auto">
            <a:xfrm>
              <a:off x="4097338" y="2217738"/>
              <a:ext cx="1139825" cy="1274763"/>
            </a:xfrm>
            <a:custGeom>
              <a:avLst/>
              <a:gdLst/>
              <a:ahLst/>
              <a:cxnLst>
                <a:cxn ang="0">
                  <a:pos x="499" y="66"/>
                </a:cxn>
                <a:cxn ang="0">
                  <a:pos x="527" y="81"/>
                </a:cxn>
                <a:cxn ang="0">
                  <a:pos x="609" y="86"/>
                </a:cxn>
                <a:cxn ang="0">
                  <a:pos x="644" y="89"/>
                </a:cxn>
                <a:cxn ang="0">
                  <a:pos x="644" y="136"/>
                </a:cxn>
                <a:cxn ang="0">
                  <a:pos x="620" y="115"/>
                </a:cxn>
                <a:cxn ang="0">
                  <a:pos x="679" y="223"/>
                </a:cxn>
                <a:cxn ang="0">
                  <a:pos x="699" y="267"/>
                </a:cxn>
                <a:cxn ang="0">
                  <a:pos x="730" y="310"/>
                </a:cxn>
                <a:cxn ang="0">
                  <a:pos x="755" y="348"/>
                </a:cxn>
                <a:cxn ang="0">
                  <a:pos x="787" y="359"/>
                </a:cxn>
                <a:cxn ang="0">
                  <a:pos x="853" y="346"/>
                </a:cxn>
                <a:cxn ang="0">
                  <a:pos x="826" y="425"/>
                </a:cxn>
                <a:cxn ang="0">
                  <a:pos x="719" y="541"/>
                </a:cxn>
                <a:cxn ang="0">
                  <a:pos x="708" y="600"/>
                </a:cxn>
                <a:cxn ang="0">
                  <a:pos x="721" y="638"/>
                </a:cxn>
                <a:cxn ang="0">
                  <a:pos x="720" y="676"/>
                </a:cxn>
                <a:cxn ang="0">
                  <a:pos x="660" y="745"/>
                </a:cxn>
                <a:cxn ang="0">
                  <a:pos x="659" y="788"/>
                </a:cxn>
                <a:cxn ang="0">
                  <a:pos x="643" y="816"/>
                </a:cxn>
                <a:cxn ang="0">
                  <a:pos x="627" y="846"/>
                </a:cxn>
                <a:cxn ang="0">
                  <a:pos x="592" y="902"/>
                </a:cxn>
                <a:cxn ang="0">
                  <a:pos x="538" y="946"/>
                </a:cxn>
                <a:cxn ang="0">
                  <a:pos x="512" y="944"/>
                </a:cxn>
                <a:cxn ang="0">
                  <a:pos x="452" y="949"/>
                </a:cxn>
                <a:cxn ang="0">
                  <a:pos x="440" y="929"/>
                </a:cxn>
                <a:cxn ang="0">
                  <a:pos x="431" y="893"/>
                </a:cxn>
                <a:cxn ang="0">
                  <a:pos x="395" y="789"/>
                </a:cxn>
                <a:cxn ang="0">
                  <a:pos x="360" y="708"/>
                </a:cxn>
                <a:cxn ang="0">
                  <a:pos x="382" y="621"/>
                </a:cxn>
                <a:cxn ang="0">
                  <a:pos x="364" y="558"/>
                </a:cxn>
                <a:cxn ang="0">
                  <a:pos x="337" y="490"/>
                </a:cxn>
                <a:cxn ang="0">
                  <a:pos x="342" y="461"/>
                </a:cxn>
                <a:cxn ang="0">
                  <a:pos x="295" y="443"/>
                </a:cxn>
                <a:cxn ang="0">
                  <a:pos x="206" y="433"/>
                </a:cxn>
                <a:cxn ang="0">
                  <a:pos x="164" y="434"/>
                </a:cxn>
                <a:cxn ang="0">
                  <a:pos x="109" y="439"/>
                </a:cxn>
                <a:cxn ang="0">
                  <a:pos x="40" y="369"/>
                </a:cxn>
                <a:cxn ang="0">
                  <a:pos x="7" y="338"/>
                </a:cxn>
                <a:cxn ang="0">
                  <a:pos x="7" y="324"/>
                </a:cxn>
                <a:cxn ang="0">
                  <a:pos x="18" y="269"/>
                </a:cxn>
                <a:cxn ang="0">
                  <a:pos x="22" y="199"/>
                </a:cxn>
                <a:cxn ang="0">
                  <a:pos x="77" y="132"/>
                </a:cxn>
                <a:cxn ang="0">
                  <a:pos x="104" y="77"/>
                </a:cxn>
                <a:cxn ang="0">
                  <a:pos x="141" y="36"/>
                </a:cxn>
                <a:cxn ang="0">
                  <a:pos x="187" y="35"/>
                </a:cxn>
                <a:cxn ang="0">
                  <a:pos x="273" y="6"/>
                </a:cxn>
                <a:cxn ang="0">
                  <a:pos x="307" y="4"/>
                </a:cxn>
                <a:cxn ang="0">
                  <a:pos x="338" y="0"/>
                </a:cxn>
                <a:cxn ang="0">
                  <a:pos x="358" y="6"/>
                </a:cxn>
                <a:cxn ang="0">
                  <a:pos x="357" y="27"/>
                </a:cxn>
                <a:cxn ang="0">
                  <a:pos x="371" y="64"/>
                </a:cxn>
                <a:cxn ang="0">
                  <a:pos x="455" y="100"/>
                </a:cxn>
                <a:cxn ang="0">
                  <a:pos x="464" y="84"/>
                </a:cxn>
                <a:cxn ang="0">
                  <a:pos x="490" y="66"/>
                </a:cxn>
              </a:cxnLst>
              <a:rect l="0" t="0" r="r" b="b"/>
              <a:pathLst>
                <a:path w="856" h="957">
                  <a:moveTo>
                    <a:pt x="490" y="66"/>
                  </a:moveTo>
                  <a:cubicBezTo>
                    <a:pt x="499" y="66"/>
                    <a:pt x="499" y="66"/>
                    <a:pt x="499" y="66"/>
                  </a:cubicBezTo>
                  <a:cubicBezTo>
                    <a:pt x="499" y="73"/>
                    <a:pt x="504" y="74"/>
                    <a:pt x="506" y="77"/>
                  </a:cubicBezTo>
                  <a:cubicBezTo>
                    <a:pt x="510" y="82"/>
                    <a:pt x="520" y="78"/>
                    <a:pt x="527" y="81"/>
                  </a:cubicBezTo>
                  <a:cubicBezTo>
                    <a:pt x="541" y="86"/>
                    <a:pt x="561" y="93"/>
                    <a:pt x="576" y="93"/>
                  </a:cubicBezTo>
                  <a:cubicBezTo>
                    <a:pt x="591" y="93"/>
                    <a:pt x="595" y="86"/>
                    <a:pt x="609" y="86"/>
                  </a:cubicBezTo>
                  <a:cubicBezTo>
                    <a:pt x="617" y="86"/>
                    <a:pt x="622" y="92"/>
                    <a:pt x="632" y="92"/>
                  </a:cubicBezTo>
                  <a:cubicBezTo>
                    <a:pt x="638" y="92"/>
                    <a:pt x="638" y="90"/>
                    <a:pt x="644" y="89"/>
                  </a:cubicBezTo>
                  <a:cubicBezTo>
                    <a:pt x="647" y="96"/>
                    <a:pt x="653" y="102"/>
                    <a:pt x="653" y="111"/>
                  </a:cubicBezTo>
                  <a:cubicBezTo>
                    <a:pt x="653" y="115"/>
                    <a:pt x="646" y="131"/>
                    <a:pt x="644" y="136"/>
                  </a:cubicBezTo>
                  <a:cubicBezTo>
                    <a:pt x="635" y="135"/>
                    <a:pt x="627" y="115"/>
                    <a:pt x="620" y="107"/>
                  </a:cubicBezTo>
                  <a:cubicBezTo>
                    <a:pt x="620" y="115"/>
                    <a:pt x="620" y="115"/>
                    <a:pt x="620" y="115"/>
                  </a:cubicBezTo>
                  <a:cubicBezTo>
                    <a:pt x="662" y="189"/>
                    <a:pt x="662" y="189"/>
                    <a:pt x="662" y="189"/>
                  </a:cubicBezTo>
                  <a:cubicBezTo>
                    <a:pt x="659" y="198"/>
                    <a:pt x="673" y="218"/>
                    <a:pt x="679" y="223"/>
                  </a:cubicBezTo>
                  <a:cubicBezTo>
                    <a:pt x="679" y="246"/>
                    <a:pt x="679" y="246"/>
                    <a:pt x="679" y="246"/>
                  </a:cubicBezTo>
                  <a:cubicBezTo>
                    <a:pt x="684" y="258"/>
                    <a:pt x="692" y="258"/>
                    <a:pt x="699" y="267"/>
                  </a:cubicBezTo>
                  <a:cubicBezTo>
                    <a:pt x="707" y="278"/>
                    <a:pt x="702" y="289"/>
                    <a:pt x="710" y="297"/>
                  </a:cubicBezTo>
                  <a:cubicBezTo>
                    <a:pt x="717" y="304"/>
                    <a:pt x="722" y="305"/>
                    <a:pt x="730" y="310"/>
                  </a:cubicBezTo>
                  <a:cubicBezTo>
                    <a:pt x="737" y="316"/>
                    <a:pt x="741" y="334"/>
                    <a:pt x="755" y="334"/>
                  </a:cubicBezTo>
                  <a:cubicBezTo>
                    <a:pt x="755" y="341"/>
                    <a:pt x="759" y="343"/>
                    <a:pt x="755" y="348"/>
                  </a:cubicBezTo>
                  <a:cubicBezTo>
                    <a:pt x="761" y="352"/>
                    <a:pt x="767" y="366"/>
                    <a:pt x="774" y="366"/>
                  </a:cubicBezTo>
                  <a:cubicBezTo>
                    <a:pt x="781" y="366"/>
                    <a:pt x="782" y="361"/>
                    <a:pt x="787" y="359"/>
                  </a:cubicBezTo>
                  <a:cubicBezTo>
                    <a:pt x="794" y="357"/>
                    <a:pt x="798" y="360"/>
                    <a:pt x="805" y="359"/>
                  </a:cubicBezTo>
                  <a:cubicBezTo>
                    <a:pt x="822" y="356"/>
                    <a:pt x="838" y="350"/>
                    <a:pt x="853" y="346"/>
                  </a:cubicBezTo>
                  <a:cubicBezTo>
                    <a:pt x="855" y="348"/>
                    <a:pt x="856" y="350"/>
                    <a:pt x="856" y="352"/>
                  </a:cubicBezTo>
                  <a:cubicBezTo>
                    <a:pt x="856" y="377"/>
                    <a:pt x="837" y="410"/>
                    <a:pt x="826" y="425"/>
                  </a:cubicBezTo>
                  <a:cubicBezTo>
                    <a:pt x="812" y="443"/>
                    <a:pt x="807" y="459"/>
                    <a:pt x="790" y="471"/>
                  </a:cubicBezTo>
                  <a:cubicBezTo>
                    <a:pt x="761" y="494"/>
                    <a:pt x="730" y="501"/>
                    <a:pt x="719" y="541"/>
                  </a:cubicBezTo>
                  <a:cubicBezTo>
                    <a:pt x="716" y="552"/>
                    <a:pt x="704" y="555"/>
                    <a:pt x="704" y="567"/>
                  </a:cubicBezTo>
                  <a:cubicBezTo>
                    <a:pt x="704" y="581"/>
                    <a:pt x="708" y="587"/>
                    <a:pt x="708" y="600"/>
                  </a:cubicBezTo>
                  <a:cubicBezTo>
                    <a:pt x="708" y="615"/>
                    <a:pt x="724" y="623"/>
                    <a:pt x="724" y="631"/>
                  </a:cubicBezTo>
                  <a:cubicBezTo>
                    <a:pt x="724" y="634"/>
                    <a:pt x="722" y="637"/>
                    <a:pt x="721" y="638"/>
                  </a:cubicBezTo>
                  <a:cubicBezTo>
                    <a:pt x="721" y="649"/>
                    <a:pt x="721" y="649"/>
                    <a:pt x="721" y="649"/>
                  </a:cubicBezTo>
                  <a:cubicBezTo>
                    <a:pt x="721" y="656"/>
                    <a:pt x="720" y="664"/>
                    <a:pt x="720" y="676"/>
                  </a:cubicBezTo>
                  <a:cubicBezTo>
                    <a:pt x="722" y="679"/>
                    <a:pt x="723" y="682"/>
                    <a:pt x="723" y="685"/>
                  </a:cubicBezTo>
                  <a:cubicBezTo>
                    <a:pt x="723" y="720"/>
                    <a:pt x="665" y="716"/>
                    <a:pt x="660" y="745"/>
                  </a:cubicBezTo>
                  <a:cubicBezTo>
                    <a:pt x="654" y="746"/>
                    <a:pt x="647" y="753"/>
                    <a:pt x="647" y="758"/>
                  </a:cubicBezTo>
                  <a:cubicBezTo>
                    <a:pt x="647" y="768"/>
                    <a:pt x="659" y="774"/>
                    <a:pt x="659" y="788"/>
                  </a:cubicBezTo>
                  <a:cubicBezTo>
                    <a:pt x="659" y="795"/>
                    <a:pt x="658" y="809"/>
                    <a:pt x="656" y="813"/>
                  </a:cubicBezTo>
                  <a:cubicBezTo>
                    <a:pt x="653" y="817"/>
                    <a:pt x="646" y="815"/>
                    <a:pt x="643" y="816"/>
                  </a:cubicBezTo>
                  <a:cubicBezTo>
                    <a:pt x="632" y="822"/>
                    <a:pt x="626" y="826"/>
                    <a:pt x="621" y="837"/>
                  </a:cubicBezTo>
                  <a:cubicBezTo>
                    <a:pt x="624" y="839"/>
                    <a:pt x="627" y="842"/>
                    <a:pt x="627" y="846"/>
                  </a:cubicBezTo>
                  <a:cubicBezTo>
                    <a:pt x="627" y="859"/>
                    <a:pt x="615" y="868"/>
                    <a:pt x="610" y="874"/>
                  </a:cubicBezTo>
                  <a:cubicBezTo>
                    <a:pt x="600" y="883"/>
                    <a:pt x="599" y="893"/>
                    <a:pt x="592" y="902"/>
                  </a:cubicBezTo>
                  <a:cubicBezTo>
                    <a:pt x="581" y="916"/>
                    <a:pt x="576" y="929"/>
                    <a:pt x="558" y="938"/>
                  </a:cubicBezTo>
                  <a:cubicBezTo>
                    <a:pt x="550" y="941"/>
                    <a:pt x="539" y="938"/>
                    <a:pt x="538" y="946"/>
                  </a:cubicBezTo>
                  <a:cubicBezTo>
                    <a:pt x="532" y="946"/>
                    <a:pt x="529" y="949"/>
                    <a:pt x="525" y="949"/>
                  </a:cubicBezTo>
                  <a:cubicBezTo>
                    <a:pt x="520" y="949"/>
                    <a:pt x="517" y="944"/>
                    <a:pt x="512" y="944"/>
                  </a:cubicBezTo>
                  <a:cubicBezTo>
                    <a:pt x="494" y="944"/>
                    <a:pt x="483" y="957"/>
                    <a:pt x="466" y="957"/>
                  </a:cubicBezTo>
                  <a:cubicBezTo>
                    <a:pt x="459" y="957"/>
                    <a:pt x="455" y="953"/>
                    <a:pt x="452" y="949"/>
                  </a:cubicBezTo>
                  <a:cubicBezTo>
                    <a:pt x="449" y="949"/>
                    <a:pt x="449" y="950"/>
                    <a:pt x="448" y="951"/>
                  </a:cubicBezTo>
                  <a:cubicBezTo>
                    <a:pt x="448" y="942"/>
                    <a:pt x="443" y="932"/>
                    <a:pt x="440" y="929"/>
                  </a:cubicBezTo>
                  <a:cubicBezTo>
                    <a:pt x="443" y="925"/>
                    <a:pt x="445" y="922"/>
                    <a:pt x="445" y="917"/>
                  </a:cubicBezTo>
                  <a:cubicBezTo>
                    <a:pt x="445" y="910"/>
                    <a:pt x="433" y="897"/>
                    <a:pt x="431" y="893"/>
                  </a:cubicBezTo>
                  <a:cubicBezTo>
                    <a:pt x="415" y="866"/>
                    <a:pt x="395" y="840"/>
                    <a:pt x="395" y="801"/>
                  </a:cubicBezTo>
                  <a:cubicBezTo>
                    <a:pt x="395" y="794"/>
                    <a:pt x="395" y="792"/>
                    <a:pt x="395" y="789"/>
                  </a:cubicBezTo>
                  <a:cubicBezTo>
                    <a:pt x="395" y="783"/>
                    <a:pt x="389" y="781"/>
                    <a:pt x="386" y="774"/>
                  </a:cubicBezTo>
                  <a:cubicBezTo>
                    <a:pt x="374" y="754"/>
                    <a:pt x="360" y="737"/>
                    <a:pt x="360" y="708"/>
                  </a:cubicBezTo>
                  <a:cubicBezTo>
                    <a:pt x="360" y="677"/>
                    <a:pt x="388" y="670"/>
                    <a:pt x="388" y="646"/>
                  </a:cubicBezTo>
                  <a:cubicBezTo>
                    <a:pt x="388" y="635"/>
                    <a:pt x="384" y="631"/>
                    <a:pt x="382" y="621"/>
                  </a:cubicBezTo>
                  <a:cubicBezTo>
                    <a:pt x="379" y="602"/>
                    <a:pt x="376" y="596"/>
                    <a:pt x="371" y="585"/>
                  </a:cubicBezTo>
                  <a:cubicBezTo>
                    <a:pt x="368" y="576"/>
                    <a:pt x="370" y="566"/>
                    <a:pt x="364" y="558"/>
                  </a:cubicBezTo>
                  <a:cubicBezTo>
                    <a:pt x="352" y="544"/>
                    <a:pt x="327" y="528"/>
                    <a:pt x="327" y="508"/>
                  </a:cubicBezTo>
                  <a:cubicBezTo>
                    <a:pt x="327" y="503"/>
                    <a:pt x="334" y="492"/>
                    <a:pt x="337" y="490"/>
                  </a:cubicBezTo>
                  <a:cubicBezTo>
                    <a:pt x="336" y="486"/>
                    <a:pt x="337" y="485"/>
                    <a:pt x="337" y="483"/>
                  </a:cubicBezTo>
                  <a:cubicBezTo>
                    <a:pt x="337" y="478"/>
                    <a:pt x="337" y="465"/>
                    <a:pt x="342" y="461"/>
                  </a:cubicBezTo>
                  <a:cubicBezTo>
                    <a:pt x="337" y="451"/>
                    <a:pt x="329" y="443"/>
                    <a:pt x="314" y="443"/>
                  </a:cubicBezTo>
                  <a:cubicBezTo>
                    <a:pt x="306" y="443"/>
                    <a:pt x="299" y="443"/>
                    <a:pt x="295" y="443"/>
                  </a:cubicBezTo>
                  <a:cubicBezTo>
                    <a:pt x="282" y="443"/>
                    <a:pt x="279" y="417"/>
                    <a:pt x="261" y="417"/>
                  </a:cubicBezTo>
                  <a:cubicBezTo>
                    <a:pt x="239" y="417"/>
                    <a:pt x="223" y="427"/>
                    <a:pt x="206" y="433"/>
                  </a:cubicBezTo>
                  <a:cubicBezTo>
                    <a:pt x="199" y="435"/>
                    <a:pt x="197" y="440"/>
                    <a:pt x="191" y="440"/>
                  </a:cubicBezTo>
                  <a:cubicBezTo>
                    <a:pt x="184" y="440"/>
                    <a:pt x="173" y="434"/>
                    <a:pt x="164" y="434"/>
                  </a:cubicBezTo>
                  <a:cubicBezTo>
                    <a:pt x="147" y="434"/>
                    <a:pt x="139" y="443"/>
                    <a:pt x="122" y="443"/>
                  </a:cubicBezTo>
                  <a:cubicBezTo>
                    <a:pt x="117" y="443"/>
                    <a:pt x="111" y="440"/>
                    <a:pt x="109" y="439"/>
                  </a:cubicBezTo>
                  <a:cubicBezTo>
                    <a:pt x="97" y="430"/>
                    <a:pt x="71" y="415"/>
                    <a:pt x="62" y="401"/>
                  </a:cubicBezTo>
                  <a:cubicBezTo>
                    <a:pt x="53" y="388"/>
                    <a:pt x="51" y="377"/>
                    <a:pt x="40" y="369"/>
                  </a:cubicBezTo>
                  <a:cubicBezTo>
                    <a:pt x="37" y="366"/>
                    <a:pt x="13" y="346"/>
                    <a:pt x="13" y="344"/>
                  </a:cubicBezTo>
                  <a:cubicBezTo>
                    <a:pt x="11" y="341"/>
                    <a:pt x="10" y="340"/>
                    <a:pt x="7" y="338"/>
                  </a:cubicBezTo>
                  <a:cubicBezTo>
                    <a:pt x="9" y="338"/>
                    <a:pt x="9" y="338"/>
                    <a:pt x="9" y="338"/>
                  </a:cubicBezTo>
                  <a:cubicBezTo>
                    <a:pt x="9" y="331"/>
                    <a:pt x="7" y="328"/>
                    <a:pt x="7" y="324"/>
                  </a:cubicBezTo>
                  <a:cubicBezTo>
                    <a:pt x="7" y="317"/>
                    <a:pt x="3" y="315"/>
                    <a:pt x="0" y="309"/>
                  </a:cubicBezTo>
                  <a:cubicBezTo>
                    <a:pt x="10" y="304"/>
                    <a:pt x="18" y="280"/>
                    <a:pt x="18" y="269"/>
                  </a:cubicBezTo>
                  <a:cubicBezTo>
                    <a:pt x="18" y="250"/>
                    <a:pt x="10" y="238"/>
                    <a:pt x="10" y="220"/>
                  </a:cubicBezTo>
                  <a:cubicBezTo>
                    <a:pt x="10" y="211"/>
                    <a:pt x="20" y="206"/>
                    <a:pt x="22" y="199"/>
                  </a:cubicBezTo>
                  <a:cubicBezTo>
                    <a:pt x="28" y="182"/>
                    <a:pt x="41" y="158"/>
                    <a:pt x="52" y="144"/>
                  </a:cubicBezTo>
                  <a:cubicBezTo>
                    <a:pt x="58" y="135"/>
                    <a:pt x="69" y="136"/>
                    <a:pt x="77" y="132"/>
                  </a:cubicBezTo>
                  <a:cubicBezTo>
                    <a:pt x="84" y="128"/>
                    <a:pt x="95" y="119"/>
                    <a:pt x="97" y="112"/>
                  </a:cubicBezTo>
                  <a:cubicBezTo>
                    <a:pt x="102" y="96"/>
                    <a:pt x="96" y="89"/>
                    <a:pt x="104" y="77"/>
                  </a:cubicBezTo>
                  <a:cubicBezTo>
                    <a:pt x="116" y="63"/>
                    <a:pt x="131" y="49"/>
                    <a:pt x="142" y="36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45" y="31"/>
                    <a:pt x="146" y="27"/>
                    <a:pt x="150" y="24"/>
                  </a:cubicBezTo>
                  <a:cubicBezTo>
                    <a:pt x="161" y="32"/>
                    <a:pt x="172" y="35"/>
                    <a:pt x="187" y="35"/>
                  </a:cubicBezTo>
                  <a:cubicBezTo>
                    <a:pt x="197" y="35"/>
                    <a:pt x="198" y="29"/>
                    <a:pt x="204" y="27"/>
                  </a:cubicBezTo>
                  <a:cubicBezTo>
                    <a:pt x="221" y="18"/>
                    <a:pt x="254" y="6"/>
                    <a:pt x="273" y="6"/>
                  </a:cubicBezTo>
                  <a:cubicBezTo>
                    <a:pt x="280" y="6"/>
                    <a:pt x="285" y="10"/>
                    <a:pt x="289" y="10"/>
                  </a:cubicBezTo>
                  <a:cubicBezTo>
                    <a:pt x="294" y="10"/>
                    <a:pt x="301" y="4"/>
                    <a:pt x="307" y="4"/>
                  </a:cubicBezTo>
                  <a:cubicBezTo>
                    <a:pt x="313" y="4"/>
                    <a:pt x="316" y="7"/>
                    <a:pt x="321" y="7"/>
                  </a:cubicBezTo>
                  <a:cubicBezTo>
                    <a:pt x="329" y="7"/>
                    <a:pt x="330" y="0"/>
                    <a:pt x="338" y="0"/>
                  </a:cubicBezTo>
                  <a:cubicBezTo>
                    <a:pt x="347" y="0"/>
                    <a:pt x="344" y="8"/>
                    <a:pt x="351" y="8"/>
                  </a:cubicBezTo>
                  <a:cubicBezTo>
                    <a:pt x="354" y="8"/>
                    <a:pt x="355" y="6"/>
                    <a:pt x="358" y="6"/>
                  </a:cubicBezTo>
                  <a:cubicBezTo>
                    <a:pt x="358" y="12"/>
                    <a:pt x="351" y="11"/>
                    <a:pt x="351" y="17"/>
                  </a:cubicBezTo>
                  <a:cubicBezTo>
                    <a:pt x="351" y="21"/>
                    <a:pt x="357" y="23"/>
                    <a:pt x="357" y="27"/>
                  </a:cubicBezTo>
                  <a:cubicBezTo>
                    <a:pt x="357" y="33"/>
                    <a:pt x="351" y="37"/>
                    <a:pt x="351" y="44"/>
                  </a:cubicBezTo>
                  <a:cubicBezTo>
                    <a:pt x="351" y="55"/>
                    <a:pt x="363" y="64"/>
                    <a:pt x="371" y="64"/>
                  </a:cubicBezTo>
                  <a:cubicBezTo>
                    <a:pt x="377" y="64"/>
                    <a:pt x="380" y="64"/>
                    <a:pt x="384" y="64"/>
                  </a:cubicBezTo>
                  <a:cubicBezTo>
                    <a:pt x="412" y="64"/>
                    <a:pt x="423" y="100"/>
                    <a:pt x="455" y="100"/>
                  </a:cubicBezTo>
                  <a:cubicBezTo>
                    <a:pt x="459" y="100"/>
                    <a:pt x="464" y="95"/>
                    <a:pt x="464" y="93"/>
                  </a:cubicBezTo>
                  <a:cubicBezTo>
                    <a:pt x="464" y="90"/>
                    <a:pt x="464" y="87"/>
                    <a:pt x="464" y="84"/>
                  </a:cubicBezTo>
                  <a:cubicBezTo>
                    <a:pt x="464" y="70"/>
                    <a:pt x="475" y="70"/>
                    <a:pt x="488" y="66"/>
                  </a:cubicBezTo>
                  <a:lnTo>
                    <a:pt x="490" y="66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80" name="Group 345"/>
          <p:cNvGrpSpPr/>
          <p:nvPr/>
        </p:nvGrpSpPr>
        <p:grpSpPr>
          <a:xfrm>
            <a:off x="4518163" y="323563"/>
            <a:ext cx="748226" cy="1383789"/>
            <a:chOff x="4219575" y="1089025"/>
            <a:chExt cx="687388" cy="1155701"/>
          </a:xfrm>
          <a:solidFill>
            <a:srgbClr val="273339">
              <a:lumMod val="75000"/>
              <a:lumOff val="25000"/>
            </a:srgbClr>
          </a:solidFill>
        </p:grpSpPr>
        <p:sp>
          <p:nvSpPr>
            <p:cNvPr id="1381" name="Freeform 36"/>
            <p:cNvSpPr>
              <a:spLocks/>
            </p:cNvSpPr>
            <p:nvPr/>
          </p:nvSpPr>
          <p:spPr bwMode="auto">
            <a:xfrm>
              <a:off x="4568825" y="1816100"/>
              <a:ext cx="26988" cy="39688"/>
            </a:xfrm>
            <a:custGeom>
              <a:avLst/>
              <a:gdLst/>
              <a:ahLst/>
              <a:cxnLst>
                <a:cxn ang="0">
                  <a:pos x="3" y="27"/>
                </a:cxn>
                <a:cxn ang="0">
                  <a:pos x="9" y="21"/>
                </a:cxn>
                <a:cxn ang="0">
                  <a:pos x="0" y="14"/>
                </a:cxn>
                <a:cxn ang="0">
                  <a:pos x="9" y="0"/>
                </a:cxn>
                <a:cxn ang="0">
                  <a:pos x="20" y="12"/>
                </a:cxn>
                <a:cxn ang="0">
                  <a:pos x="6" y="30"/>
                </a:cxn>
                <a:cxn ang="0">
                  <a:pos x="0" y="27"/>
                </a:cxn>
                <a:cxn ang="0">
                  <a:pos x="2" y="25"/>
                </a:cxn>
                <a:cxn ang="0">
                  <a:pos x="3" y="27"/>
                </a:cxn>
              </a:cxnLst>
              <a:rect l="0" t="0" r="r" b="b"/>
              <a:pathLst>
                <a:path w="20" h="30">
                  <a:moveTo>
                    <a:pt x="3" y="27"/>
                  </a:moveTo>
                  <a:cubicBezTo>
                    <a:pt x="6" y="26"/>
                    <a:pt x="9" y="23"/>
                    <a:pt x="9" y="21"/>
                  </a:cubicBezTo>
                  <a:cubicBezTo>
                    <a:pt x="5" y="20"/>
                    <a:pt x="0" y="16"/>
                    <a:pt x="0" y="14"/>
                  </a:cubicBezTo>
                  <a:cubicBezTo>
                    <a:pt x="0" y="12"/>
                    <a:pt x="5" y="0"/>
                    <a:pt x="9" y="0"/>
                  </a:cubicBezTo>
                  <a:cubicBezTo>
                    <a:pt x="17" y="0"/>
                    <a:pt x="18" y="4"/>
                    <a:pt x="20" y="12"/>
                  </a:cubicBezTo>
                  <a:cubicBezTo>
                    <a:pt x="12" y="14"/>
                    <a:pt x="16" y="30"/>
                    <a:pt x="6" y="30"/>
                  </a:cubicBezTo>
                  <a:cubicBezTo>
                    <a:pt x="3" y="30"/>
                    <a:pt x="1" y="27"/>
                    <a:pt x="0" y="27"/>
                  </a:cubicBezTo>
                  <a:cubicBezTo>
                    <a:pt x="1" y="26"/>
                    <a:pt x="2" y="25"/>
                    <a:pt x="2" y="25"/>
                  </a:cubicBezTo>
                  <a:lnTo>
                    <a:pt x="3" y="27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382" name="Group 343"/>
            <p:cNvGrpSpPr/>
            <p:nvPr/>
          </p:nvGrpSpPr>
          <p:grpSpPr>
            <a:xfrm>
              <a:off x="4219575" y="1089025"/>
              <a:ext cx="687388" cy="1155701"/>
              <a:chOff x="4219575" y="1089025"/>
              <a:chExt cx="687388" cy="1155701"/>
            </a:xfrm>
            <a:grpFill/>
          </p:grpSpPr>
          <p:sp>
            <p:nvSpPr>
              <p:cNvPr id="1383" name="Freeform 24"/>
              <p:cNvSpPr>
                <a:spLocks/>
              </p:cNvSpPr>
              <p:nvPr/>
            </p:nvSpPr>
            <p:spPr bwMode="auto">
              <a:xfrm>
                <a:off x="4230688" y="1782763"/>
                <a:ext cx="646113" cy="461963"/>
              </a:xfrm>
              <a:custGeom>
                <a:avLst/>
                <a:gdLst/>
                <a:ahLst/>
                <a:cxnLst>
                  <a:cxn ang="0">
                    <a:pos x="473" y="233"/>
                  </a:cxn>
                  <a:cxn ang="0">
                    <a:pos x="470" y="273"/>
                  </a:cxn>
                  <a:cxn ang="0">
                    <a:pos x="427" y="274"/>
                  </a:cxn>
                  <a:cxn ang="0">
                    <a:pos x="401" y="283"/>
                  </a:cxn>
                  <a:cxn ang="0">
                    <a:pos x="403" y="303"/>
                  </a:cxn>
                  <a:cxn ang="0">
                    <a:pos x="413" y="322"/>
                  </a:cxn>
                  <a:cxn ang="0">
                    <a:pos x="401" y="319"/>
                  </a:cxn>
                  <a:cxn ang="0">
                    <a:pos x="397" y="336"/>
                  </a:cxn>
                  <a:cxn ang="0">
                    <a:pos x="382" y="315"/>
                  </a:cxn>
                  <a:cxn ang="0">
                    <a:pos x="358" y="278"/>
                  </a:cxn>
                  <a:cxn ang="0">
                    <a:pos x="329" y="238"/>
                  </a:cxn>
                  <a:cxn ang="0">
                    <a:pos x="289" y="213"/>
                  </a:cxn>
                  <a:cxn ang="0">
                    <a:pos x="270" y="212"/>
                  </a:cxn>
                  <a:cxn ang="0">
                    <a:pos x="289" y="244"/>
                  </a:cxn>
                  <a:cxn ang="0">
                    <a:pos x="315" y="264"/>
                  </a:cxn>
                  <a:cxn ang="0">
                    <a:pos x="330" y="283"/>
                  </a:cxn>
                  <a:cxn ang="0">
                    <a:pos x="323" y="305"/>
                  </a:cxn>
                  <a:cxn ang="0">
                    <a:pos x="316" y="303"/>
                  </a:cxn>
                  <a:cxn ang="0">
                    <a:pos x="291" y="273"/>
                  </a:cxn>
                  <a:cxn ang="0">
                    <a:pos x="229" y="223"/>
                  </a:cxn>
                  <a:cxn ang="0">
                    <a:pos x="168" y="237"/>
                  </a:cxn>
                  <a:cxn ang="0">
                    <a:pos x="135" y="272"/>
                  </a:cxn>
                  <a:cxn ang="0">
                    <a:pos x="101" y="326"/>
                  </a:cxn>
                  <a:cxn ang="0">
                    <a:pos x="72" y="338"/>
                  </a:cxn>
                  <a:cxn ang="0">
                    <a:pos x="10" y="334"/>
                  </a:cxn>
                  <a:cxn ang="0">
                    <a:pos x="0" y="306"/>
                  </a:cxn>
                  <a:cxn ang="0">
                    <a:pos x="4" y="246"/>
                  </a:cxn>
                  <a:cxn ang="0">
                    <a:pos x="48" y="235"/>
                  </a:cxn>
                  <a:cxn ang="0">
                    <a:pos x="89" y="240"/>
                  </a:cxn>
                  <a:cxn ang="0">
                    <a:pos x="105" y="206"/>
                  </a:cxn>
                  <a:cxn ang="0">
                    <a:pos x="103" y="193"/>
                  </a:cxn>
                  <a:cxn ang="0">
                    <a:pos x="60" y="163"/>
                  </a:cxn>
                  <a:cxn ang="0">
                    <a:pos x="88" y="157"/>
                  </a:cxn>
                  <a:cxn ang="0">
                    <a:pos x="96" y="143"/>
                  </a:cxn>
                  <a:cxn ang="0">
                    <a:pos x="114" y="145"/>
                  </a:cxn>
                  <a:cxn ang="0">
                    <a:pos x="147" y="118"/>
                  </a:cxn>
                  <a:cxn ang="0">
                    <a:pos x="176" y="89"/>
                  </a:cxn>
                  <a:cxn ang="0">
                    <a:pos x="208" y="73"/>
                  </a:cxn>
                  <a:cxn ang="0">
                    <a:pos x="225" y="54"/>
                  </a:cxn>
                  <a:cxn ang="0">
                    <a:pos x="245" y="5"/>
                  </a:cxn>
                  <a:cxn ang="0">
                    <a:pos x="251" y="25"/>
                  </a:cxn>
                  <a:cxn ang="0">
                    <a:pos x="240" y="54"/>
                  </a:cxn>
                  <a:cxn ang="0">
                    <a:pos x="254" y="66"/>
                  </a:cxn>
                  <a:cxn ang="0">
                    <a:pos x="289" y="68"/>
                  </a:cxn>
                  <a:cxn ang="0">
                    <a:pos x="333" y="50"/>
                  </a:cxn>
                  <a:cxn ang="0">
                    <a:pos x="378" y="55"/>
                  </a:cxn>
                  <a:cxn ang="0">
                    <a:pos x="408" y="95"/>
                  </a:cxn>
                  <a:cxn ang="0">
                    <a:pos x="399" y="153"/>
                  </a:cxn>
                  <a:cxn ang="0">
                    <a:pos x="470" y="180"/>
                  </a:cxn>
                  <a:cxn ang="0">
                    <a:pos x="474" y="204"/>
                  </a:cxn>
                  <a:cxn ang="0">
                    <a:pos x="476" y="216"/>
                  </a:cxn>
                </a:cxnLst>
                <a:rect l="0" t="0" r="r" b="b"/>
                <a:pathLst>
                  <a:path w="485" h="347">
                    <a:moveTo>
                      <a:pt x="476" y="216"/>
                    </a:moveTo>
                    <a:cubicBezTo>
                      <a:pt x="474" y="223"/>
                      <a:pt x="475" y="219"/>
                      <a:pt x="473" y="222"/>
                    </a:cubicBezTo>
                    <a:cubicBezTo>
                      <a:pt x="473" y="233"/>
                      <a:pt x="473" y="233"/>
                      <a:pt x="473" y="233"/>
                    </a:cubicBezTo>
                    <a:cubicBezTo>
                      <a:pt x="469" y="238"/>
                      <a:pt x="461" y="246"/>
                      <a:pt x="461" y="253"/>
                    </a:cubicBezTo>
                    <a:cubicBezTo>
                      <a:pt x="461" y="261"/>
                      <a:pt x="473" y="268"/>
                      <a:pt x="476" y="272"/>
                    </a:cubicBezTo>
                    <a:cubicBezTo>
                      <a:pt x="474" y="273"/>
                      <a:pt x="472" y="273"/>
                      <a:pt x="470" y="273"/>
                    </a:cubicBezTo>
                    <a:cubicBezTo>
                      <a:pt x="466" y="275"/>
                      <a:pt x="463" y="273"/>
                      <a:pt x="459" y="275"/>
                    </a:cubicBezTo>
                    <a:cubicBezTo>
                      <a:pt x="453" y="277"/>
                      <a:pt x="452" y="283"/>
                      <a:pt x="446" y="283"/>
                    </a:cubicBezTo>
                    <a:cubicBezTo>
                      <a:pt x="439" y="283"/>
                      <a:pt x="435" y="274"/>
                      <a:pt x="427" y="274"/>
                    </a:cubicBezTo>
                    <a:cubicBezTo>
                      <a:pt x="420" y="274"/>
                      <a:pt x="419" y="278"/>
                      <a:pt x="413" y="280"/>
                    </a:cubicBezTo>
                    <a:cubicBezTo>
                      <a:pt x="414" y="284"/>
                      <a:pt x="414" y="286"/>
                      <a:pt x="413" y="290"/>
                    </a:cubicBezTo>
                    <a:cubicBezTo>
                      <a:pt x="406" y="290"/>
                      <a:pt x="405" y="283"/>
                      <a:pt x="401" y="283"/>
                    </a:cubicBezTo>
                    <a:cubicBezTo>
                      <a:pt x="399" y="283"/>
                      <a:pt x="397" y="286"/>
                      <a:pt x="397" y="288"/>
                    </a:cubicBezTo>
                    <a:cubicBezTo>
                      <a:pt x="405" y="298"/>
                      <a:pt x="405" y="298"/>
                      <a:pt x="405" y="298"/>
                    </a:cubicBezTo>
                    <a:cubicBezTo>
                      <a:pt x="405" y="300"/>
                      <a:pt x="403" y="302"/>
                      <a:pt x="403" y="303"/>
                    </a:cubicBezTo>
                    <a:cubicBezTo>
                      <a:pt x="403" y="304"/>
                      <a:pt x="415" y="315"/>
                      <a:pt x="419" y="315"/>
                    </a:cubicBezTo>
                    <a:cubicBezTo>
                      <a:pt x="419" y="317"/>
                      <a:pt x="420" y="318"/>
                      <a:pt x="420" y="319"/>
                    </a:cubicBezTo>
                    <a:cubicBezTo>
                      <a:pt x="418" y="321"/>
                      <a:pt x="414" y="319"/>
                      <a:pt x="413" y="322"/>
                    </a:cubicBezTo>
                    <a:cubicBezTo>
                      <a:pt x="412" y="322"/>
                      <a:pt x="412" y="322"/>
                      <a:pt x="412" y="322"/>
                    </a:cubicBezTo>
                    <a:cubicBezTo>
                      <a:pt x="407" y="321"/>
                      <a:pt x="403" y="317"/>
                      <a:pt x="401" y="315"/>
                    </a:cubicBezTo>
                    <a:cubicBezTo>
                      <a:pt x="401" y="319"/>
                      <a:pt x="401" y="319"/>
                      <a:pt x="401" y="319"/>
                    </a:cubicBezTo>
                    <a:cubicBezTo>
                      <a:pt x="402" y="321"/>
                      <a:pt x="403" y="323"/>
                      <a:pt x="403" y="326"/>
                    </a:cubicBezTo>
                    <a:cubicBezTo>
                      <a:pt x="403" y="329"/>
                      <a:pt x="399" y="334"/>
                      <a:pt x="403" y="336"/>
                    </a:cubicBezTo>
                    <a:cubicBezTo>
                      <a:pt x="401" y="336"/>
                      <a:pt x="397" y="336"/>
                      <a:pt x="397" y="336"/>
                    </a:cubicBezTo>
                    <a:cubicBezTo>
                      <a:pt x="390" y="336"/>
                      <a:pt x="384" y="329"/>
                      <a:pt x="384" y="322"/>
                    </a:cubicBezTo>
                    <a:cubicBezTo>
                      <a:pt x="384" y="319"/>
                      <a:pt x="388" y="317"/>
                      <a:pt x="390" y="315"/>
                    </a:cubicBezTo>
                    <a:cubicBezTo>
                      <a:pt x="387" y="315"/>
                      <a:pt x="385" y="315"/>
                      <a:pt x="382" y="315"/>
                    </a:cubicBezTo>
                    <a:cubicBezTo>
                      <a:pt x="380" y="315"/>
                      <a:pt x="379" y="311"/>
                      <a:pt x="379" y="310"/>
                    </a:cubicBezTo>
                    <a:cubicBezTo>
                      <a:pt x="378" y="304"/>
                      <a:pt x="374" y="300"/>
                      <a:pt x="370" y="296"/>
                    </a:cubicBezTo>
                    <a:cubicBezTo>
                      <a:pt x="365" y="291"/>
                      <a:pt x="358" y="287"/>
                      <a:pt x="358" y="278"/>
                    </a:cubicBezTo>
                    <a:cubicBezTo>
                      <a:pt x="358" y="272"/>
                      <a:pt x="358" y="270"/>
                      <a:pt x="358" y="266"/>
                    </a:cubicBezTo>
                    <a:cubicBezTo>
                      <a:pt x="358" y="260"/>
                      <a:pt x="348" y="251"/>
                      <a:pt x="342" y="248"/>
                    </a:cubicBezTo>
                    <a:cubicBezTo>
                      <a:pt x="336" y="245"/>
                      <a:pt x="329" y="244"/>
                      <a:pt x="329" y="238"/>
                    </a:cubicBezTo>
                    <a:cubicBezTo>
                      <a:pt x="326" y="238"/>
                      <a:pt x="325" y="238"/>
                      <a:pt x="323" y="238"/>
                    </a:cubicBezTo>
                    <a:cubicBezTo>
                      <a:pt x="313" y="238"/>
                      <a:pt x="302" y="223"/>
                      <a:pt x="302" y="213"/>
                    </a:cubicBezTo>
                    <a:cubicBezTo>
                      <a:pt x="297" y="213"/>
                      <a:pt x="293" y="213"/>
                      <a:pt x="289" y="213"/>
                    </a:cubicBezTo>
                    <a:cubicBezTo>
                      <a:pt x="283" y="213"/>
                      <a:pt x="285" y="204"/>
                      <a:pt x="283" y="201"/>
                    </a:cubicBezTo>
                    <a:cubicBezTo>
                      <a:pt x="278" y="204"/>
                      <a:pt x="268" y="204"/>
                      <a:pt x="268" y="209"/>
                    </a:cubicBezTo>
                    <a:cubicBezTo>
                      <a:pt x="268" y="210"/>
                      <a:pt x="270" y="212"/>
                      <a:pt x="270" y="212"/>
                    </a:cubicBezTo>
                    <a:cubicBezTo>
                      <a:pt x="270" y="214"/>
                      <a:pt x="269" y="217"/>
                      <a:pt x="269" y="220"/>
                    </a:cubicBezTo>
                    <a:cubicBezTo>
                      <a:pt x="269" y="226"/>
                      <a:pt x="273" y="229"/>
                      <a:pt x="278" y="231"/>
                    </a:cubicBezTo>
                    <a:cubicBezTo>
                      <a:pt x="285" y="233"/>
                      <a:pt x="288" y="240"/>
                      <a:pt x="289" y="244"/>
                    </a:cubicBezTo>
                    <a:cubicBezTo>
                      <a:pt x="291" y="250"/>
                      <a:pt x="294" y="257"/>
                      <a:pt x="298" y="259"/>
                    </a:cubicBezTo>
                    <a:cubicBezTo>
                      <a:pt x="304" y="262"/>
                      <a:pt x="309" y="260"/>
                      <a:pt x="315" y="260"/>
                    </a:cubicBezTo>
                    <a:cubicBezTo>
                      <a:pt x="315" y="261"/>
                      <a:pt x="315" y="263"/>
                      <a:pt x="315" y="264"/>
                    </a:cubicBezTo>
                    <a:cubicBezTo>
                      <a:pt x="313" y="269"/>
                      <a:pt x="323" y="271"/>
                      <a:pt x="326" y="272"/>
                    </a:cubicBezTo>
                    <a:cubicBezTo>
                      <a:pt x="335" y="277"/>
                      <a:pt x="345" y="280"/>
                      <a:pt x="344" y="290"/>
                    </a:cubicBezTo>
                    <a:cubicBezTo>
                      <a:pt x="340" y="289"/>
                      <a:pt x="337" y="283"/>
                      <a:pt x="330" y="283"/>
                    </a:cubicBezTo>
                    <a:cubicBezTo>
                      <a:pt x="325" y="283"/>
                      <a:pt x="320" y="286"/>
                      <a:pt x="320" y="290"/>
                    </a:cubicBezTo>
                    <a:cubicBezTo>
                      <a:pt x="320" y="296"/>
                      <a:pt x="328" y="297"/>
                      <a:pt x="328" y="303"/>
                    </a:cubicBezTo>
                    <a:cubicBezTo>
                      <a:pt x="328" y="305"/>
                      <a:pt x="323" y="305"/>
                      <a:pt x="323" y="305"/>
                    </a:cubicBezTo>
                    <a:cubicBezTo>
                      <a:pt x="319" y="309"/>
                      <a:pt x="319" y="318"/>
                      <a:pt x="313" y="318"/>
                    </a:cubicBezTo>
                    <a:cubicBezTo>
                      <a:pt x="310" y="318"/>
                      <a:pt x="308" y="317"/>
                      <a:pt x="308" y="315"/>
                    </a:cubicBezTo>
                    <a:cubicBezTo>
                      <a:pt x="314" y="315"/>
                      <a:pt x="316" y="309"/>
                      <a:pt x="316" y="303"/>
                    </a:cubicBezTo>
                    <a:cubicBezTo>
                      <a:pt x="316" y="297"/>
                      <a:pt x="312" y="295"/>
                      <a:pt x="311" y="291"/>
                    </a:cubicBezTo>
                    <a:cubicBezTo>
                      <a:pt x="310" y="291"/>
                      <a:pt x="300" y="281"/>
                      <a:pt x="299" y="278"/>
                    </a:cubicBezTo>
                    <a:cubicBezTo>
                      <a:pt x="297" y="278"/>
                      <a:pt x="291" y="276"/>
                      <a:pt x="291" y="273"/>
                    </a:cubicBezTo>
                    <a:cubicBezTo>
                      <a:pt x="277" y="270"/>
                      <a:pt x="274" y="266"/>
                      <a:pt x="266" y="259"/>
                    </a:cubicBezTo>
                    <a:cubicBezTo>
                      <a:pt x="263" y="256"/>
                      <a:pt x="257" y="254"/>
                      <a:pt x="256" y="251"/>
                    </a:cubicBezTo>
                    <a:cubicBezTo>
                      <a:pt x="248" y="241"/>
                      <a:pt x="245" y="223"/>
                      <a:pt x="229" y="223"/>
                    </a:cubicBezTo>
                    <a:cubicBezTo>
                      <a:pt x="221" y="223"/>
                      <a:pt x="220" y="228"/>
                      <a:pt x="216" y="230"/>
                    </a:cubicBezTo>
                    <a:cubicBezTo>
                      <a:pt x="208" y="234"/>
                      <a:pt x="202" y="242"/>
                      <a:pt x="192" y="242"/>
                    </a:cubicBezTo>
                    <a:cubicBezTo>
                      <a:pt x="183" y="242"/>
                      <a:pt x="177" y="237"/>
                      <a:pt x="168" y="237"/>
                    </a:cubicBezTo>
                    <a:cubicBezTo>
                      <a:pt x="161" y="237"/>
                      <a:pt x="154" y="242"/>
                      <a:pt x="154" y="248"/>
                    </a:cubicBezTo>
                    <a:cubicBezTo>
                      <a:pt x="157" y="258"/>
                      <a:pt x="157" y="258"/>
                      <a:pt x="157" y="258"/>
                    </a:cubicBezTo>
                    <a:cubicBezTo>
                      <a:pt x="154" y="267"/>
                      <a:pt x="144" y="270"/>
                      <a:pt x="135" y="272"/>
                    </a:cubicBezTo>
                    <a:cubicBezTo>
                      <a:pt x="127" y="274"/>
                      <a:pt x="114" y="292"/>
                      <a:pt x="114" y="302"/>
                    </a:cubicBezTo>
                    <a:cubicBezTo>
                      <a:pt x="114" y="305"/>
                      <a:pt x="117" y="306"/>
                      <a:pt x="119" y="307"/>
                    </a:cubicBezTo>
                    <a:cubicBezTo>
                      <a:pt x="113" y="316"/>
                      <a:pt x="110" y="321"/>
                      <a:pt x="101" y="326"/>
                    </a:cubicBezTo>
                    <a:cubicBezTo>
                      <a:pt x="96" y="328"/>
                      <a:pt x="95" y="340"/>
                      <a:pt x="86" y="337"/>
                    </a:cubicBezTo>
                    <a:cubicBezTo>
                      <a:pt x="86" y="337"/>
                      <a:pt x="86" y="337"/>
                      <a:pt x="86" y="337"/>
                    </a:cubicBezTo>
                    <a:cubicBezTo>
                      <a:pt x="82" y="336"/>
                      <a:pt x="75" y="338"/>
                      <a:pt x="72" y="338"/>
                    </a:cubicBezTo>
                    <a:cubicBezTo>
                      <a:pt x="62" y="338"/>
                      <a:pt x="56" y="347"/>
                      <a:pt x="46" y="347"/>
                    </a:cubicBezTo>
                    <a:cubicBezTo>
                      <a:pt x="40" y="347"/>
                      <a:pt x="39" y="331"/>
                      <a:pt x="29" y="331"/>
                    </a:cubicBezTo>
                    <a:cubicBezTo>
                      <a:pt x="22" y="331"/>
                      <a:pt x="17" y="334"/>
                      <a:pt x="10" y="334"/>
                    </a:cubicBezTo>
                    <a:cubicBezTo>
                      <a:pt x="8" y="334"/>
                      <a:pt x="7" y="332"/>
                      <a:pt x="7" y="330"/>
                    </a:cubicBezTo>
                    <a:cubicBezTo>
                      <a:pt x="7" y="321"/>
                      <a:pt x="7" y="318"/>
                      <a:pt x="7" y="313"/>
                    </a:cubicBezTo>
                    <a:cubicBezTo>
                      <a:pt x="3" y="313"/>
                      <a:pt x="0" y="310"/>
                      <a:pt x="0" y="306"/>
                    </a:cubicBezTo>
                    <a:cubicBezTo>
                      <a:pt x="0" y="301"/>
                      <a:pt x="4" y="299"/>
                      <a:pt x="4" y="296"/>
                    </a:cubicBezTo>
                    <a:cubicBezTo>
                      <a:pt x="4" y="285"/>
                      <a:pt x="8" y="274"/>
                      <a:pt x="8" y="262"/>
                    </a:cubicBezTo>
                    <a:cubicBezTo>
                      <a:pt x="8" y="256"/>
                      <a:pt x="4" y="250"/>
                      <a:pt x="4" y="246"/>
                    </a:cubicBezTo>
                    <a:cubicBezTo>
                      <a:pt x="4" y="243"/>
                      <a:pt x="19" y="234"/>
                      <a:pt x="21" y="234"/>
                    </a:cubicBezTo>
                    <a:cubicBezTo>
                      <a:pt x="23" y="234"/>
                      <a:pt x="25" y="236"/>
                      <a:pt x="28" y="235"/>
                    </a:cubicBezTo>
                    <a:cubicBezTo>
                      <a:pt x="48" y="235"/>
                      <a:pt x="48" y="235"/>
                      <a:pt x="48" y="235"/>
                    </a:cubicBezTo>
                    <a:cubicBezTo>
                      <a:pt x="49" y="237"/>
                      <a:pt x="53" y="238"/>
                      <a:pt x="55" y="238"/>
                    </a:cubicBezTo>
                    <a:cubicBezTo>
                      <a:pt x="76" y="238"/>
                      <a:pt x="76" y="238"/>
                      <a:pt x="76" y="238"/>
                    </a:cubicBezTo>
                    <a:cubicBezTo>
                      <a:pt x="82" y="237"/>
                      <a:pt x="84" y="240"/>
                      <a:pt x="89" y="240"/>
                    </a:cubicBezTo>
                    <a:cubicBezTo>
                      <a:pt x="92" y="240"/>
                      <a:pt x="98" y="238"/>
                      <a:pt x="100" y="238"/>
                    </a:cubicBezTo>
                    <a:cubicBezTo>
                      <a:pt x="100" y="229"/>
                      <a:pt x="105" y="226"/>
                      <a:pt x="105" y="218"/>
                    </a:cubicBezTo>
                    <a:cubicBezTo>
                      <a:pt x="105" y="216"/>
                      <a:pt x="105" y="208"/>
                      <a:pt x="105" y="206"/>
                    </a:cubicBezTo>
                    <a:cubicBezTo>
                      <a:pt x="104" y="206"/>
                      <a:pt x="104" y="206"/>
                      <a:pt x="104" y="206"/>
                    </a:cubicBezTo>
                    <a:cubicBezTo>
                      <a:pt x="105" y="205"/>
                      <a:pt x="106" y="201"/>
                      <a:pt x="106" y="200"/>
                    </a:cubicBezTo>
                    <a:cubicBezTo>
                      <a:pt x="106" y="196"/>
                      <a:pt x="103" y="197"/>
                      <a:pt x="103" y="193"/>
                    </a:cubicBezTo>
                    <a:cubicBezTo>
                      <a:pt x="94" y="193"/>
                      <a:pt x="92" y="185"/>
                      <a:pt x="92" y="178"/>
                    </a:cubicBezTo>
                    <a:cubicBezTo>
                      <a:pt x="89" y="178"/>
                      <a:pt x="89" y="175"/>
                      <a:pt x="87" y="175"/>
                    </a:cubicBezTo>
                    <a:cubicBezTo>
                      <a:pt x="79" y="173"/>
                      <a:pt x="60" y="169"/>
                      <a:pt x="60" y="163"/>
                    </a:cubicBezTo>
                    <a:cubicBezTo>
                      <a:pt x="60" y="163"/>
                      <a:pt x="60" y="161"/>
                      <a:pt x="60" y="161"/>
                    </a:cubicBezTo>
                    <a:cubicBezTo>
                      <a:pt x="60" y="157"/>
                      <a:pt x="72" y="154"/>
                      <a:pt x="76" y="153"/>
                    </a:cubicBezTo>
                    <a:cubicBezTo>
                      <a:pt x="78" y="156"/>
                      <a:pt x="85" y="157"/>
                      <a:pt x="88" y="157"/>
                    </a:cubicBezTo>
                    <a:cubicBezTo>
                      <a:pt x="92" y="157"/>
                      <a:pt x="97" y="156"/>
                      <a:pt x="98" y="155"/>
                    </a:cubicBezTo>
                    <a:cubicBezTo>
                      <a:pt x="98" y="152"/>
                      <a:pt x="98" y="152"/>
                      <a:pt x="98" y="152"/>
                    </a:cubicBezTo>
                    <a:cubicBezTo>
                      <a:pt x="95" y="151"/>
                      <a:pt x="97" y="145"/>
                      <a:pt x="96" y="143"/>
                    </a:cubicBezTo>
                    <a:cubicBezTo>
                      <a:pt x="96" y="140"/>
                      <a:pt x="96" y="140"/>
                      <a:pt x="96" y="140"/>
                    </a:cubicBezTo>
                    <a:cubicBezTo>
                      <a:pt x="101" y="140"/>
                      <a:pt x="101" y="140"/>
                      <a:pt x="101" y="140"/>
                    </a:cubicBezTo>
                    <a:cubicBezTo>
                      <a:pt x="104" y="143"/>
                      <a:pt x="109" y="145"/>
                      <a:pt x="114" y="145"/>
                    </a:cubicBezTo>
                    <a:cubicBezTo>
                      <a:pt x="117" y="145"/>
                      <a:pt x="120" y="142"/>
                      <a:pt x="121" y="139"/>
                    </a:cubicBezTo>
                    <a:cubicBezTo>
                      <a:pt x="135" y="139"/>
                      <a:pt x="138" y="129"/>
                      <a:pt x="141" y="119"/>
                    </a:cubicBezTo>
                    <a:cubicBezTo>
                      <a:pt x="143" y="119"/>
                      <a:pt x="145" y="118"/>
                      <a:pt x="147" y="118"/>
                    </a:cubicBezTo>
                    <a:cubicBezTo>
                      <a:pt x="150" y="117"/>
                      <a:pt x="167" y="110"/>
                      <a:pt x="169" y="108"/>
                    </a:cubicBezTo>
                    <a:cubicBezTo>
                      <a:pt x="173" y="104"/>
                      <a:pt x="171" y="99"/>
                      <a:pt x="171" y="94"/>
                    </a:cubicBezTo>
                    <a:cubicBezTo>
                      <a:pt x="171" y="92"/>
                      <a:pt x="175" y="89"/>
                      <a:pt x="176" y="89"/>
                    </a:cubicBezTo>
                    <a:cubicBezTo>
                      <a:pt x="182" y="83"/>
                      <a:pt x="188" y="76"/>
                      <a:pt x="198" y="76"/>
                    </a:cubicBezTo>
                    <a:cubicBezTo>
                      <a:pt x="204" y="76"/>
                      <a:pt x="201" y="77"/>
                      <a:pt x="204" y="76"/>
                    </a:cubicBezTo>
                    <a:cubicBezTo>
                      <a:pt x="206" y="77"/>
                      <a:pt x="207" y="74"/>
                      <a:pt x="208" y="73"/>
                    </a:cubicBezTo>
                    <a:cubicBezTo>
                      <a:pt x="211" y="70"/>
                      <a:pt x="215" y="72"/>
                      <a:pt x="219" y="72"/>
                    </a:cubicBezTo>
                    <a:cubicBezTo>
                      <a:pt x="221" y="72"/>
                      <a:pt x="229" y="68"/>
                      <a:pt x="229" y="65"/>
                    </a:cubicBezTo>
                    <a:cubicBezTo>
                      <a:pt x="229" y="63"/>
                      <a:pt x="225" y="54"/>
                      <a:pt x="225" y="54"/>
                    </a:cubicBezTo>
                    <a:cubicBezTo>
                      <a:pt x="224" y="42"/>
                      <a:pt x="217" y="38"/>
                      <a:pt x="217" y="28"/>
                    </a:cubicBezTo>
                    <a:cubicBezTo>
                      <a:pt x="217" y="9"/>
                      <a:pt x="234" y="8"/>
                      <a:pt x="245" y="0"/>
                    </a:cubicBezTo>
                    <a:cubicBezTo>
                      <a:pt x="245" y="5"/>
                      <a:pt x="245" y="5"/>
                      <a:pt x="245" y="5"/>
                    </a:cubicBezTo>
                    <a:cubicBezTo>
                      <a:pt x="243" y="10"/>
                      <a:pt x="242" y="12"/>
                      <a:pt x="242" y="17"/>
                    </a:cubicBezTo>
                    <a:cubicBezTo>
                      <a:pt x="242" y="21"/>
                      <a:pt x="247" y="22"/>
                      <a:pt x="251" y="22"/>
                    </a:cubicBezTo>
                    <a:cubicBezTo>
                      <a:pt x="251" y="23"/>
                      <a:pt x="251" y="24"/>
                      <a:pt x="251" y="25"/>
                    </a:cubicBezTo>
                    <a:cubicBezTo>
                      <a:pt x="251" y="27"/>
                      <a:pt x="247" y="28"/>
                      <a:pt x="245" y="29"/>
                    </a:cubicBezTo>
                    <a:cubicBezTo>
                      <a:pt x="241" y="34"/>
                      <a:pt x="236" y="38"/>
                      <a:pt x="236" y="46"/>
                    </a:cubicBezTo>
                    <a:cubicBezTo>
                      <a:pt x="236" y="50"/>
                      <a:pt x="238" y="53"/>
                      <a:pt x="240" y="54"/>
                    </a:cubicBezTo>
                    <a:cubicBezTo>
                      <a:pt x="240" y="56"/>
                      <a:pt x="241" y="57"/>
                      <a:pt x="240" y="59"/>
                    </a:cubicBezTo>
                    <a:cubicBezTo>
                      <a:pt x="245" y="59"/>
                      <a:pt x="247" y="60"/>
                      <a:pt x="251" y="60"/>
                    </a:cubicBezTo>
                    <a:cubicBezTo>
                      <a:pt x="252" y="63"/>
                      <a:pt x="253" y="66"/>
                      <a:pt x="254" y="66"/>
                    </a:cubicBezTo>
                    <a:cubicBezTo>
                      <a:pt x="266" y="66"/>
                      <a:pt x="274" y="56"/>
                      <a:pt x="285" y="57"/>
                    </a:cubicBezTo>
                    <a:cubicBezTo>
                      <a:pt x="284" y="59"/>
                      <a:pt x="282" y="60"/>
                      <a:pt x="282" y="62"/>
                    </a:cubicBezTo>
                    <a:cubicBezTo>
                      <a:pt x="282" y="63"/>
                      <a:pt x="289" y="68"/>
                      <a:pt x="289" y="68"/>
                    </a:cubicBezTo>
                    <a:cubicBezTo>
                      <a:pt x="294" y="68"/>
                      <a:pt x="295" y="65"/>
                      <a:pt x="297" y="64"/>
                    </a:cubicBezTo>
                    <a:cubicBezTo>
                      <a:pt x="304" y="60"/>
                      <a:pt x="310" y="62"/>
                      <a:pt x="317" y="59"/>
                    </a:cubicBezTo>
                    <a:cubicBezTo>
                      <a:pt x="321" y="57"/>
                      <a:pt x="328" y="50"/>
                      <a:pt x="333" y="50"/>
                    </a:cubicBezTo>
                    <a:cubicBezTo>
                      <a:pt x="339" y="50"/>
                      <a:pt x="345" y="51"/>
                      <a:pt x="348" y="52"/>
                    </a:cubicBezTo>
                    <a:cubicBezTo>
                      <a:pt x="347" y="54"/>
                      <a:pt x="346" y="56"/>
                      <a:pt x="346" y="57"/>
                    </a:cubicBezTo>
                    <a:cubicBezTo>
                      <a:pt x="358" y="57"/>
                      <a:pt x="370" y="55"/>
                      <a:pt x="378" y="55"/>
                    </a:cubicBezTo>
                    <a:cubicBezTo>
                      <a:pt x="386" y="55"/>
                      <a:pt x="392" y="54"/>
                      <a:pt x="401" y="54"/>
                    </a:cubicBezTo>
                    <a:cubicBezTo>
                      <a:pt x="410" y="54"/>
                      <a:pt x="414" y="70"/>
                      <a:pt x="414" y="80"/>
                    </a:cubicBezTo>
                    <a:cubicBezTo>
                      <a:pt x="414" y="86"/>
                      <a:pt x="408" y="89"/>
                      <a:pt x="408" y="95"/>
                    </a:cubicBezTo>
                    <a:cubicBezTo>
                      <a:pt x="408" y="104"/>
                      <a:pt x="416" y="110"/>
                      <a:pt x="416" y="118"/>
                    </a:cubicBezTo>
                    <a:cubicBezTo>
                      <a:pt x="416" y="123"/>
                      <a:pt x="408" y="125"/>
                      <a:pt x="406" y="128"/>
                    </a:cubicBezTo>
                    <a:cubicBezTo>
                      <a:pt x="401" y="136"/>
                      <a:pt x="399" y="143"/>
                      <a:pt x="399" y="153"/>
                    </a:cubicBezTo>
                    <a:cubicBezTo>
                      <a:pt x="399" y="166"/>
                      <a:pt x="408" y="163"/>
                      <a:pt x="418" y="163"/>
                    </a:cubicBezTo>
                    <a:cubicBezTo>
                      <a:pt x="432" y="163"/>
                      <a:pt x="439" y="157"/>
                      <a:pt x="450" y="157"/>
                    </a:cubicBezTo>
                    <a:cubicBezTo>
                      <a:pt x="461" y="157"/>
                      <a:pt x="459" y="180"/>
                      <a:pt x="470" y="180"/>
                    </a:cubicBezTo>
                    <a:cubicBezTo>
                      <a:pt x="470" y="198"/>
                      <a:pt x="470" y="198"/>
                      <a:pt x="470" y="198"/>
                    </a:cubicBezTo>
                    <a:cubicBezTo>
                      <a:pt x="470" y="200"/>
                      <a:pt x="471" y="201"/>
                      <a:pt x="472" y="201"/>
                    </a:cubicBezTo>
                    <a:cubicBezTo>
                      <a:pt x="474" y="204"/>
                      <a:pt x="474" y="204"/>
                      <a:pt x="474" y="204"/>
                    </a:cubicBezTo>
                    <a:cubicBezTo>
                      <a:pt x="476" y="204"/>
                      <a:pt x="482" y="202"/>
                      <a:pt x="485" y="201"/>
                    </a:cubicBezTo>
                    <a:cubicBezTo>
                      <a:pt x="485" y="204"/>
                      <a:pt x="485" y="206"/>
                      <a:pt x="485" y="208"/>
                    </a:cubicBezTo>
                    <a:cubicBezTo>
                      <a:pt x="481" y="209"/>
                      <a:pt x="476" y="211"/>
                      <a:pt x="476" y="216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4" name="Freeform 25"/>
              <p:cNvSpPr>
                <a:spLocks/>
              </p:cNvSpPr>
              <p:nvPr/>
            </p:nvSpPr>
            <p:spPr bwMode="auto">
              <a:xfrm>
                <a:off x="4470400" y="1416050"/>
                <a:ext cx="436563" cy="423863"/>
              </a:xfrm>
              <a:custGeom>
                <a:avLst/>
                <a:gdLst/>
                <a:ahLst/>
                <a:cxnLst>
                  <a:cxn ang="0">
                    <a:pos x="66" y="236"/>
                  </a:cxn>
                  <a:cxn ang="0">
                    <a:pos x="4" y="254"/>
                  </a:cxn>
                  <a:cxn ang="0">
                    <a:pos x="12" y="241"/>
                  </a:cxn>
                  <a:cxn ang="0">
                    <a:pos x="8" y="231"/>
                  </a:cxn>
                  <a:cxn ang="0">
                    <a:pos x="10" y="190"/>
                  </a:cxn>
                  <a:cxn ang="0">
                    <a:pos x="55" y="163"/>
                  </a:cxn>
                  <a:cxn ang="0">
                    <a:pos x="85" y="129"/>
                  </a:cxn>
                  <a:cxn ang="0">
                    <a:pos x="97" y="102"/>
                  </a:cxn>
                  <a:cxn ang="0">
                    <a:pos x="142" y="55"/>
                  </a:cxn>
                  <a:cxn ang="0">
                    <a:pos x="124" y="57"/>
                  </a:cxn>
                  <a:cxn ang="0">
                    <a:pos x="124" y="49"/>
                  </a:cxn>
                  <a:cxn ang="0">
                    <a:pos x="132" y="44"/>
                  </a:cxn>
                  <a:cxn ang="0">
                    <a:pos x="148" y="57"/>
                  </a:cxn>
                  <a:cxn ang="0">
                    <a:pos x="149" y="45"/>
                  </a:cxn>
                  <a:cxn ang="0">
                    <a:pos x="168" y="37"/>
                  </a:cxn>
                  <a:cxn ang="0">
                    <a:pos x="183" y="28"/>
                  </a:cxn>
                  <a:cxn ang="0">
                    <a:pos x="199" y="21"/>
                  </a:cxn>
                  <a:cxn ang="0">
                    <a:pos x="221" y="17"/>
                  </a:cxn>
                  <a:cxn ang="0">
                    <a:pos x="223" y="5"/>
                  </a:cxn>
                  <a:cxn ang="0">
                    <a:pos x="256" y="6"/>
                  </a:cxn>
                  <a:cxn ang="0">
                    <a:pos x="266" y="7"/>
                  </a:cxn>
                  <a:cxn ang="0">
                    <a:pos x="285" y="2"/>
                  </a:cxn>
                  <a:cxn ang="0">
                    <a:pos x="296" y="6"/>
                  </a:cxn>
                  <a:cxn ang="0">
                    <a:pos x="293" y="24"/>
                  </a:cxn>
                  <a:cxn ang="0">
                    <a:pos x="315" y="32"/>
                  </a:cxn>
                  <a:cxn ang="0">
                    <a:pos x="309" y="72"/>
                  </a:cxn>
                  <a:cxn ang="0">
                    <a:pos x="310" y="113"/>
                  </a:cxn>
                  <a:cxn ang="0">
                    <a:pos x="318" y="148"/>
                  </a:cxn>
                  <a:cxn ang="0">
                    <a:pos x="327" y="172"/>
                  </a:cxn>
                  <a:cxn ang="0">
                    <a:pos x="255" y="224"/>
                  </a:cxn>
                  <a:cxn ang="0">
                    <a:pos x="218" y="225"/>
                  </a:cxn>
                  <a:cxn ang="0">
                    <a:pos x="206" y="200"/>
                  </a:cxn>
                  <a:cxn ang="0">
                    <a:pos x="197" y="174"/>
                  </a:cxn>
                  <a:cxn ang="0">
                    <a:pos x="254" y="130"/>
                  </a:cxn>
                  <a:cxn ang="0">
                    <a:pos x="202" y="135"/>
                  </a:cxn>
                  <a:cxn ang="0">
                    <a:pos x="172" y="169"/>
                  </a:cxn>
                  <a:cxn ang="0">
                    <a:pos x="146" y="201"/>
                  </a:cxn>
                  <a:cxn ang="0">
                    <a:pos x="150" y="218"/>
                  </a:cxn>
                  <a:cxn ang="0">
                    <a:pos x="152" y="253"/>
                  </a:cxn>
                  <a:cxn ang="0">
                    <a:pos x="146" y="283"/>
                  </a:cxn>
                  <a:cxn ang="0">
                    <a:pos x="121" y="304"/>
                  </a:cxn>
                  <a:cxn ang="0">
                    <a:pos x="90" y="297"/>
                  </a:cxn>
                  <a:cxn ang="0">
                    <a:pos x="82" y="269"/>
                  </a:cxn>
                  <a:cxn ang="0">
                    <a:pos x="76" y="245"/>
                  </a:cxn>
                </a:cxnLst>
                <a:rect l="0" t="0" r="r" b="b"/>
                <a:pathLst>
                  <a:path w="327" h="318">
                    <a:moveTo>
                      <a:pt x="76" y="247"/>
                    </a:moveTo>
                    <a:cubicBezTo>
                      <a:pt x="70" y="245"/>
                      <a:pt x="69" y="241"/>
                      <a:pt x="66" y="236"/>
                    </a:cubicBezTo>
                    <a:cubicBezTo>
                      <a:pt x="57" y="249"/>
                      <a:pt x="43" y="266"/>
                      <a:pt x="24" y="266"/>
                    </a:cubicBezTo>
                    <a:cubicBezTo>
                      <a:pt x="22" y="266"/>
                      <a:pt x="4" y="256"/>
                      <a:pt x="4" y="254"/>
                    </a:cubicBezTo>
                    <a:cubicBezTo>
                      <a:pt x="4" y="250"/>
                      <a:pt x="10" y="248"/>
                      <a:pt x="12" y="247"/>
                    </a:cubicBezTo>
                    <a:cubicBezTo>
                      <a:pt x="12" y="241"/>
                      <a:pt x="12" y="241"/>
                      <a:pt x="12" y="241"/>
                    </a:cubicBezTo>
                    <a:cubicBezTo>
                      <a:pt x="6" y="241"/>
                      <a:pt x="6" y="241"/>
                      <a:pt x="0" y="243"/>
                    </a:cubicBezTo>
                    <a:cubicBezTo>
                      <a:pt x="0" y="240"/>
                      <a:pt x="5" y="234"/>
                      <a:pt x="8" y="231"/>
                    </a:cubicBezTo>
                    <a:cubicBezTo>
                      <a:pt x="1" y="223"/>
                      <a:pt x="0" y="212"/>
                      <a:pt x="0" y="200"/>
                    </a:cubicBezTo>
                    <a:cubicBezTo>
                      <a:pt x="0" y="193"/>
                      <a:pt x="7" y="194"/>
                      <a:pt x="10" y="190"/>
                    </a:cubicBezTo>
                    <a:cubicBezTo>
                      <a:pt x="15" y="182"/>
                      <a:pt x="20" y="177"/>
                      <a:pt x="30" y="174"/>
                    </a:cubicBezTo>
                    <a:cubicBezTo>
                      <a:pt x="38" y="172"/>
                      <a:pt x="39" y="162"/>
                      <a:pt x="55" y="163"/>
                    </a:cubicBezTo>
                    <a:cubicBezTo>
                      <a:pt x="50" y="162"/>
                      <a:pt x="49" y="161"/>
                      <a:pt x="45" y="160"/>
                    </a:cubicBezTo>
                    <a:cubicBezTo>
                      <a:pt x="64" y="155"/>
                      <a:pt x="71" y="140"/>
                      <a:pt x="85" y="129"/>
                    </a:cubicBezTo>
                    <a:cubicBezTo>
                      <a:pt x="90" y="126"/>
                      <a:pt x="89" y="112"/>
                      <a:pt x="93" y="112"/>
                    </a:cubicBezTo>
                    <a:cubicBezTo>
                      <a:pt x="93" y="112"/>
                      <a:pt x="97" y="102"/>
                      <a:pt x="97" y="102"/>
                    </a:cubicBezTo>
                    <a:cubicBezTo>
                      <a:pt x="102" y="93"/>
                      <a:pt x="109" y="87"/>
                      <a:pt x="118" y="83"/>
                    </a:cubicBezTo>
                    <a:cubicBezTo>
                      <a:pt x="127" y="80"/>
                      <a:pt x="139" y="65"/>
                      <a:pt x="142" y="55"/>
                    </a:cubicBezTo>
                    <a:cubicBezTo>
                      <a:pt x="131" y="58"/>
                      <a:pt x="126" y="63"/>
                      <a:pt x="116" y="63"/>
                    </a:cubicBezTo>
                    <a:cubicBezTo>
                      <a:pt x="118" y="60"/>
                      <a:pt x="123" y="58"/>
                      <a:pt x="124" y="57"/>
                    </a:cubicBezTo>
                    <a:cubicBezTo>
                      <a:pt x="122" y="57"/>
                      <a:pt x="118" y="56"/>
                      <a:pt x="118" y="56"/>
                    </a:cubicBezTo>
                    <a:cubicBezTo>
                      <a:pt x="119" y="51"/>
                      <a:pt x="121" y="49"/>
                      <a:pt x="124" y="49"/>
                    </a:cubicBezTo>
                    <a:cubicBezTo>
                      <a:pt x="126" y="49"/>
                      <a:pt x="127" y="50"/>
                      <a:pt x="128" y="50"/>
                    </a:cubicBezTo>
                    <a:cubicBezTo>
                      <a:pt x="129" y="47"/>
                      <a:pt x="131" y="46"/>
                      <a:pt x="132" y="44"/>
                    </a:cubicBezTo>
                    <a:cubicBezTo>
                      <a:pt x="134" y="47"/>
                      <a:pt x="135" y="49"/>
                      <a:pt x="133" y="52"/>
                    </a:cubicBezTo>
                    <a:cubicBezTo>
                      <a:pt x="140" y="52"/>
                      <a:pt x="142" y="57"/>
                      <a:pt x="148" y="57"/>
                    </a:cubicBezTo>
                    <a:cubicBezTo>
                      <a:pt x="150" y="57"/>
                      <a:pt x="155" y="46"/>
                      <a:pt x="156" y="46"/>
                    </a:cubicBezTo>
                    <a:cubicBezTo>
                      <a:pt x="153" y="45"/>
                      <a:pt x="153" y="44"/>
                      <a:pt x="149" y="45"/>
                    </a:cubicBezTo>
                    <a:cubicBezTo>
                      <a:pt x="151" y="41"/>
                      <a:pt x="154" y="38"/>
                      <a:pt x="159" y="38"/>
                    </a:cubicBezTo>
                    <a:cubicBezTo>
                      <a:pt x="162" y="38"/>
                      <a:pt x="165" y="39"/>
                      <a:pt x="168" y="37"/>
                    </a:cubicBezTo>
                    <a:cubicBezTo>
                      <a:pt x="165" y="35"/>
                      <a:pt x="166" y="35"/>
                      <a:pt x="164" y="33"/>
                    </a:cubicBezTo>
                    <a:cubicBezTo>
                      <a:pt x="169" y="29"/>
                      <a:pt x="176" y="29"/>
                      <a:pt x="183" y="28"/>
                    </a:cubicBezTo>
                    <a:cubicBezTo>
                      <a:pt x="183" y="33"/>
                      <a:pt x="183" y="33"/>
                      <a:pt x="183" y="33"/>
                    </a:cubicBezTo>
                    <a:cubicBezTo>
                      <a:pt x="189" y="32"/>
                      <a:pt x="190" y="22"/>
                      <a:pt x="199" y="21"/>
                    </a:cubicBezTo>
                    <a:cubicBezTo>
                      <a:pt x="199" y="29"/>
                      <a:pt x="199" y="29"/>
                      <a:pt x="199" y="29"/>
                    </a:cubicBezTo>
                    <a:cubicBezTo>
                      <a:pt x="205" y="18"/>
                      <a:pt x="213" y="21"/>
                      <a:pt x="221" y="17"/>
                    </a:cubicBezTo>
                    <a:cubicBezTo>
                      <a:pt x="217" y="15"/>
                      <a:pt x="214" y="14"/>
                      <a:pt x="214" y="11"/>
                    </a:cubicBezTo>
                    <a:cubicBezTo>
                      <a:pt x="214" y="9"/>
                      <a:pt x="222" y="7"/>
                      <a:pt x="223" y="5"/>
                    </a:cubicBezTo>
                    <a:cubicBezTo>
                      <a:pt x="226" y="8"/>
                      <a:pt x="228" y="11"/>
                      <a:pt x="232" y="11"/>
                    </a:cubicBezTo>
                    <a:cubicBezTo>
                      <a:pt x="239" y="11"/>
                      <a:pt x="256" y="0"/>
                      <a:pt x="256" y="6"/>
                    </a:cubicBezTo>
                    <a:cubicBezTo>
                      <a:pt x="256" y="12"/>
                      <a:pt x="248" y="14"/>
                      <a:pt x="247" y="20"/>
                    </a:cubicBezTo>
                    <a:cubicBezTo>
                      <a:pt x="255" y="21"/>
                      <a:pt x="258" y="11"/>
                      <a:pt x="266" y="7"/>
                    </a:cubicBezTo>
                    <a:cubicBezTo>
                      <a:pt x="267" y="10"/>
                      <a:pt x="267" y="12"/>
                      <a:pt x="268" y="15"/>
                    </a:cubicBezTo>
                    <a:cubicBezTo>
                      <a:pt x="274" y="9"/>
                      <a:pt x="277" y="7"/>
                      <a:pt x="285" y="2"/>
                    </a:cubicBezTo>
                    <a:cubicBezTo>
                      <a:pt x="285" y="8"/>
                      <a:pt x="284" y="12"/>
                      <a:pt x="289" y="13"/>
                    </a:cubicBezTo>
                    <a:cubicBezTo>
                      <a:pt x="290" y="9"/>
                      <a:pt x="292" y="6"/>
                      <a:pt x="296" y="6"/>
                    </a:cubicBezTo>
                    <a:cubicBezTo>
                      <a:pt x="298" y="6"/>
                      <a:pt x="307" y="11"/>
                      <a:pt x="311" y="13"/>
                    </a:cubicBezTo>
                    <a:cubicBezTo>
                      <a:pt x="307" y="24"/>
                      <a:pt x="303" y="20"/>
                      <a:pt x="293" y="24"/>
                    </a:cubicBezTo>
                    <a:cubicBezTo>
                      <a:pt x="298" y="27"/>
                      <a:pt x="301" y="28"/>
                      <a:pt x="301" y="30"/>
                    </a:cubicBezTo>
                    <a:cubicBezTo>
                      <a:pt x="305" y="31"/>
                      <a:pt x="314" y="32"/>
                      <a:pt x="315" y="32"/>
                    </a:cubicBezTo>
                    <a:cubicBezTo>
                      <a:pt x="309" y="36"/>
                      <a:pt x="293" y="44"/>
                      <a:pt x="293" y="55"/>
                    </a:cubicBezTo>
                    <a:cubicBezTo>
                      <a:pt x="293" y="63"/>
                      <a:pt x="309" y="62"/>
                      <a:pt x="309" y="72"/>
                    </a:cubicBezTo>
                    <a:cubicBezTo>
                      <a:pt x="309" y="80"/>
                      <a:pt x="301" y="83"/>
                      <a:pt x="301" y="91"/>
                    </a:cubicBezTo>
                    <a:cubicBezTo>
                      <a:pt x="301" y="99"/>
                      <a:pt x="310" y="104"/>
                      <a:pt x="310" y="113"/>
                    </a:cubicBezTo>
                    <a:cubicBezTo>
                      <a:pt x="310" y="118"/>
                      <a:pt x="305" y="121"/>
                      <a:pt x="305" y="126"/>
                    </a:cubicBezTo>
                    <a:cubicBezTo>
                      <a:pt x="305" y="136"/>
                      <a:pt x="318" y="138"/>
                      <a:pt x="318" y="148"/>
                    </a:cubicBezTo>
                    <a:cubicBezTo>
                      <a:pt x="318" y="151"/>
                      <a:pt x="314" y="153"/>
                      <a:pt x="313" y="154"/>
                    </a:cubicBezTo>
                    <a:cubicBezTo>
                      <a:pt x="317" y="161"/>
                      <a:pt x="327" y="163"/>
                      <a:pt x="327" y="172"/>
                    </a:cubicBezTo>
                    <a:cubicBezTo>
                      <a:pt x="327" y="187"/>
                      <a:pt x="297" y="203"/>
                      <a:pt x="288" y="215"/>
                    </a:cubicBezTo>
                    <a:cubicBezTo>
                      <a:pt x="283" y="224"/>
                      <a:pt x="263" y="226"/>
                      <a:pt x="255" y="224"/>
                    </a:cubicBezTo>
                    <a:cubicBezTo>
                      <a:pt x="246" y="227"/>
                      <a:pt x="236" y="231"/>
                      <a:pt x="228" y="231"/>
                    </a:cubicBezTo>
                    <a:cubicBezTo>
                      <a:pt x="222" y="231"/>
                      <a:pt x="218" y="230"/>
                      <a:pt x="218" y="225"/>
                    </a:cubicBezTo>
                    <a:cubicBezTo>
                      <a:pt x="209" y="225"/>
                      <a:pt x="199" y="219"/>
                      <a:pt x="199" y="210"/>
                    </a:cubicBezTo>
                    <a:cubicBezTo>
                      <a:pt x="199" y="205"/>
                      <a:pt x="204" y="202"/>
                      <a:pt x="206" y="200"/>
                    </a:cubicBezTo>
                    <a:cubicBezTo>
                      <a:pt x="201" y="198"/>
                      <a:pt x="197" y="188"/>
                      <a:pt x="197" y="183"/>
                    </a:cubicBezTo>
                    <a:cubicBezTo>
                      <a:pt x="197" y="180"/>
                      <a:pt x="198" y="178"/>
                      <a:pt x="197" y="174"/>
                    </a:cubicBezTo>
                    <a:cubicBezTo>
                      <a:pt x="216" y="174"/>
                      <a:pt x="225" y="150"/>
                      <a:pt x="237" y="144"/>
                    </a:cubicBezTo>
                    <a:cubicBezTo>
                      <a:pt x="243" y="140"/>
                      <a:pt x="254" y="138"/>
                      <a:pt x="254" y="130"/>
                    </a:cubicBezTo>
                    <a:cubicBezTo>
                      <a:pt x="254" y="119"/>
                      <a:pt x="239" y="117"/>
                      <a:pt x="228" y="117"/>
                    </a:cubicBezTo>
                    <a:cubicBezTo>
                      <a:pt x="213" y="117"/>
                      <a:pt x="202" y="122"/>
                      <a:pt x="202" y="135"/>
                    </a:cubicBezTo>
                    <a:cubicBezTo>
                      <a:pt x="202" y="140"/>
                      <a:pt x="203" y="142"/>
                      <a:pt x="202" y="145"/>
                    </a:cubicBezTo>
                    <a:cubicBezTo>
                      <a:pt x="202" y="155"/>
                      <a:pt x="181" y="164"/>
                      <a:pt x="172" y="169"/>
                    </a:cubicBezTo>
                    <a:cubicBezTo>
                      <a:pt x="165" y="174"/>
                      <a:pt x="157" y="175"/>
                      <a:pt x="152" y="183"/>
                    </a:cubicBezTo>
                    <a:cubicBezTo>
                      <a:pt x="149" y="189"/>
                      <a:pt x="153" y="198"/>
                      <a:pt x="146" y="201"/>
                    </a:cubicBezTo>
                    <a:cubicBezTo>
                      <a:pt x="146" y="210"/>
                      <a:pt x="146" y="210"/>
                      <a:pt x="146" y="210"/>
                    </a:cubicBezTo>
                    <a:cubicBezTo>
                      <a:pt x="149" y="212"/>
                      <a:pt x="150" y="215"/>
                      <a:pt x="150" y="218"/>
                    </a:cubicBezTo>
                    <a:cubicBezTo>
                      <a:pt x="158" y="219"/>
                      <a:pt x="170" y="227"/>
                      <a:pt x="170" y="235"/>
                    </a:cubicBezTo>
                    <a:cubicBezTo>
                      <a:pt x="170" y="242"/>
                      <a:pt x="157" y="253"/>
                      <a:pt x="152" y="253"/>
                    </a:cubicBezTo>
                    <a:cubicBezTo>
                      <a:pt x="143" y="253"/>
                      <a:pt x="140" y="266"/>
                      <a:pt x="140" y="275"/>
                    </a:cubicBezTo>
                    <a:cubicBezTo>
                      <a:pt x="140" y="280"/>
                      <a:pt x="144" y="282"/>
                      <a:pt x="146" y="283"/>
                    </a:cubicBezTo>
                    <a:cubicBezTo>
                      <a:pt x="145" y="294"/>
                      <a:pt x="135" y="295"/>
                      <a:pt x="133" y="304"/>
                    </a:cubicBezTo>
                    <a:cubicBezTo>
                      <a:pt x="127" y="304"/>
                      <a:pt x="125" y="304"/>
                      <a:pt x="121" y="304"/>
                    </a:cubicBezTo>
                    <a:cubicBezTo>
                      <a:pt x="114" y="304"/>
                      <a:pt x="111" y="318"/>
                      <a:pt x="100" y="318"/>
                    </a:cubicBezTo>
                    <a:cubicBezTo>
                      <a:pt x="97" y="318"/>
                      <a:pt x="90" y="299"/>
                      <a:pt x="90" y="297"/>
                    </a:cubicBezTo>
                    <a:cubicBezTo>
                      <a:pt x="90" y="296"/>
                      <a:pt x="91" y="294"/>
                      <a:pt x="91" y="293"/>
                    </a:cubicBezTo>
                    <a:cubicBezTo>
                      <a:pt x="84" y="285"/>
                      <a:pt x="85" y="279"/>
                      <a:pt x="82" y="269"/>
                    </a:cubicBezTo>
                    <a:cubicBezTo>
                      <a:pt x="79" y="263"/>
                      <a:pt x="73" y="261"/>
                      <a:pt x="73" y="253"/>
                    </a:cubicBezTo>
                    <a:cubicBezTo>
                      <a:pt x="73" y="250"/>
                      <a:pt x="75" y="246"/>
                      <a:pt x="76" y="245"/>
                    </a:cubicBezTo>
                    <a:lnTo>
                      <a:pt x="76" y="247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5" name="Freeform 26"/>
              <p:cNvSpPr>
                <a:spLocks/>
              </p:cNvSpPr>
              <p:nvPr/>
            </p:nvSpPr>
            <p:spPr bwMode="auto">
              <a:xfrm>
                <a:off x="4559300" y="1109663"/>
                <a:ext cx="234950" cy="128588"/>
              </a:xfrm>
              <a:custGeom>
                <a:avLst/>
                <a:gdLst/>
                <a:ahLst/>
                <a:cxnLst>
                  <a:cxn ang="0">
                    <a:pos x="148" y="79"/>
                  </a:cxn>
                  <a:cxn ang="0">
                    <a:pos x="148" y="71"/>
                  </a:cxn>
                  <a:cxn ang="0">
                    <a:pos x="128" y="71"/>
                  </a:cxn>
                  <a:cxn ang="0">
                    <a:pos x="135" y="58"/>
                  </a:cxn>
                  <a:cxn ang="0">
                    <a:pos x="126" y="46"/>
                  </a:cxn>
                  <a:cxn ang="0">
                    <a:pos x="132" y="45"/>
                  </a:cxn>
                  <a:cxn ang="0">
                    <a:pos x="121" y="38"/>
                  </a:cxn>
                  <a:cxn ang="0">
                    <a:pos x="97" y="69"/>
                  </a:cxn>
                  <a:cxn ang="0">
                    <a:pos x="90" y="73"/>
                  </a:cxn>
                  <a:cxn ang="0">
                    <a:pos x="78" y="97"/>
                  </a:cxn>
                  <a:cxn ang="0">
                    <a:pos x="43" y="69"/>
                  </a:cxn>
                  <a:cxn ang="0">
                    <a:pos x="60" y="70"/>
                  </a:cxn>
                  <a:cxn ang="0">
                    <a:pos x="74" y="66"/>
                  </a:cxn>
                  <a:cxn ang="0">
                    <a:pos x="54" y="64"/>
                  </a:cxn>
                  <a:cxn ang="0">
                    <a:pos x="38" y="58"/>
                  </a:cxn>
                  <a:cxn ang="0">
                    <a:pos x="50" y="54"/>
                  </a:cxn>
                  <a:cxn ang="0">
                    <a:pos x="72" y="43"/>
                  </a:cxn>
                  <a:cxn ang="0">
                    <a:pos x="61" y="43"/>
                  </a:cxn>
                  <a:cxn ang="0">
                    <a:pos x="54" y="39"/>
                  </a:cxn>
                  <a:cxn ang="0">
                    <a:pos x="51" y="39"/>
                  </a:cxn>
                  <a:cxn ang="0">
                    <a:pos x="38" y="51"/>
                  </a:cxn>
                  <a:cxn ang="0">
                    <a:pos x="23" y="44"/>
                  </a:cxn>
                  <a:cxn ang="0">
                    <a:pos x="27" y="43"/>
                  </a:cxn>
                  <a:cxn ang="0">
                    <a:pos x="15" y="28"/>
                  </a:cxn>
                  <a:cxn ang="0">
                    <a:pos x="11" y="26"/>
                  </a:cxn>
                  <a:cxn ang="0">
                    <a:pos x="0" y="16"/>
                  </a:cxn>
                  <a:cxn ang="0">
                    <a:pos x="16" y="5"/>
                  </a:cxn>
                  <a:cxn ang="0">
                    <a:pos x="38" y="7"/>
                  </a:cxn>
                  <a:cxn ang="0">
                    <a:pos x="32" y="13"/>
                  </a:cxn>
                  <a:cxn ang="0">
                    <a:pos x="44" y="20"/>
                  </a:cxn>
                  <a:cxn ang="0">
                    <a:pos x="41" y="14"/>
                  </a:cxn>
                  <a:cxn ang="0">
                    <a:pos x="49" y="7"/>
                  </a:cxn>
                  <a:cxn ang="0">
                    <a:pos x="68" y="26"/>
                  </a:cxn>
                  <a:cxn ang="0">
                    <a:pos x="63" y="7"/>
                  </a:cxn>
                  <a:cxn ang="0">
                    <a:pos x="72" y="0"/>
                  </a:cxn>
                  <a:cxn ang="0">
                    <a:pos x="90" y="9"/>
                  </a:cxn>
                  <a:cxn ang="0">
                    <a:pos x="88" y="18"/>
                  </a:cxn>
                  <a:cxn ang="0">
                    <a:pos x="96" y="12"/>
                  </a:cxn>
                  <a:cxn ang="0">
                    <a:pos x="102" y="23"/>
                  </a:cxn>
                  <a:cxn ang="0">
                    <a:pos x="106" y="23"/>
                  </a:cxn>
                  <a:cxn ang="0">
                    <a:pos x="141" y="41"/>
                  </a:cxn>
                  <a:cxn ang="0">
                    <a:pos x="137" y="42"/>
                  </a:cxn>
                  <a:cxn ang="0">
                    <a:pos x="145" y="42"/>
                  </a:cxn>
                  <a:cxn ang="0">
                    <a:pos x="145" y="49"/>
                  </a:cxn>
                  <a:cxn ang="0">
                    <a:pos x="159" y="49"/>
                  </a:cxn>
                  <a:cxn ang="0">
                    <a:pos x="176" y="64"/>
                  </a:cxn>
                  <a:cxn ang="0">
                    <a:pos x="148" y="79"/>
                  </a:cxn>
                </a:cxnLst>
                <a:rect l="0" t="0" r="r" b="b"/>
                <a:pathLst>
                  <a:path w="176" h="97">
                    <a:moveTo>
                      <a:pt x="148" y="79"/>
                    </a:moveTo>
                    <a:cubicBezTo>
                      <a:pt x="147" y="76"/>
                      <a:pt x="147" y="74"/>
                      <a:pt x="148" y="71"/>
                    </a:cubicBezTo>
                    <a:cubicBezTo>
                      <a:pt x="143" y="71"/>
                      <a:pt x="134" y="71"/>
                      <a:pt x="128" y="71"/>
                    </a:cubicBezTo>
                    <a:cubicBezTo>
                      <a:pt x="129" y="63"/>
                      <a:pt x="134" y="65"/>
                      <a:pt x="135" y="58"/>
                    </a:cubicBezTo>
                    <a:cubicBezTo>
                      <a:pt x="132" y="57"/>
                      <a:pt x="128" y="49"/>
                      <a:pt x="126" y="46"/>
                    </a:cubicBezTo>
                    <a:cubicBezTo>
                      <a:pt x="128" y="45"/>
                      <a:pt x="130" y="45"/>
                      <a:pt x="132" y="45"/>
                    </a:cubicBezTo>
                    <a:cubicBezTo>
                      <a:pt x="125" y="44"/>
                      <a:pt x="121" y="38"/>
                      <a:pt x="121" y="38"/>
                    </a:cubicBezTo>
                    <a:cubicBezTo>
                      <a:pt x="106" y="38"/>
                      <a:pt x="102" y="58"/>
                      <a:pt x="97" y="69"/>
                    </a:cubicBezTo>
                    <a:cubicBezTo>
                      <a:pt x="96" y="72"/>
                      <a:pt x="93" y="71"/>
                      <a:pt x="90" y="73"/>
                    </a:cubicBezTo>
                    <a:cubicBezTo>
                      <a:pt x="83" y="79"/>
                      <a:pt x="84" y="91"/>
                      <a:pt x="78" y="97"/>
                    </a:cubicBezTo>
                    <a:cubicBezTo>
                      <a:pt x="67" y="90"/>
                      <a:pt x="43" y="84"/>
                      <a:pt x="43" y="69"/>
                    </a:cubicBezTo>
                    <a:cubicBezTo>
                      <a:pt x="49" y="68"/>
                      <a:pt x="60" y="70"/>
                      <a:pt x="60" y="70"/>
                    </a:cubicBezTo>
                    <a:cubicBezTo>
                      <a:pt x="64" y="66"/>
                      <a:pt x="69" y="67"/>
                      <a:pt x="74" y="66"/>
                    </a:cubicBezTo>
                    <a:cubicBezTo>
                      <a:pt x="72" y="64"/>
                      <a:pt x="57" y="64"/>
                      <a:pt x="54" y="64"/>
                    </a:cubicBezTo>
                    <a:cubicBezTo>
                      <a:pt x="49" y="64"/>
                      <a:pt x="38" y="69"/>
                      <a:pt x="38" y="58"/>
                    </a:cubicBezTo>
                    <a:cubicBezTo>
                      <a:pt x="38" y="54"/>
                      <a:pt x="48" y="54"/>
                      <a:pt x="50" y="54"/>
                    </a:cubicBezTo>
                    <a:cubicBezTo>
                      <a:pt x="56" y="52"/>
                      <a:pt x="68" y="47"/>
                      <a:pt x="72" y="43"/>
                    </a:cubicBezTo>
                    <a:cubicBezTo>
                      <a:pt x="66" y="43"/>
                      <a:pt x="63" y="43"/>
                      <a:pt x="61" y="43"/>
                    </a:cubicBezTo>
                    <a:cubicBezTo>
                      <a:pt x="60" y="43"/>
                      <a:pt x="56" y="40"/>
                      <a:pt x="54" y="39"/>
                    </a:cubicBezTo>
                    <a:cubicBezTo>
                      <a:pt x="53" y="39"/>
                      <a:pt x="52" y="39"/>
                      <a:pt x="51" y="39"/>
                    </a:cubicBezTo>
                    <a:cubicBezTo>
                      <a:pt x="47" y="41"/>
                      <a:pt x="47" y="51"/>
                      <a:pt x="38" y="51"/>
                    </a:cubicBezTo>
                    <a:cubicBezTo>
                      <a:pt x="31" y="51"/>
                      <a:pt x="26" y="48"/>
                      <a:pt x="23" y="44"/>
                    </a:cubicBezTo>
                    <a:cubicBezTo>
                      <a:pt x="25" y="43"/>
                      <a:pt x="26" y="43"/>
                      <a:pt x="27" y="43"/>
                    </a:cubicBezTo>
                    <a:cubicBezTo>
                      <a:pt x="19" y="39"/>
                      <a:pt x="13" y="35"/>
                      <a:pt x="15" y="28"/>
                    </a:cubicBezTo>
                    <a:cubicBezTo>
                      <a:pt x="13" y="28"/>
                      <a:pt x="12" y="26"/>
                      <a:pt x="11" y="26"/>
                    </a:cubicBezTo>
                    <a:cubicBezTo>
                      <a:pt x="8" y="26"/>
                      <a:pt x="3" y="19"/>
                      <a:pt x="0" y="16"/>
                    </a:cubicBezTo>
                    <a:cubicBezTo>
                      <a:pt x="2" y="14"/>
                      <a:pt x="11" y="5"/>
                      <a:pt x="16" y="5"/>
                    </a:cubicBezTo>
                    <a:cubicBezTo>
                      <a:pt x="23" y="5"/>
                      <a:pt x="27" y="5"/>
                      <a:pt x="38" y="7"/>
                    </a:cubicBezTo>
                    <a:cubicBezTo>
                      <a:pt x="35" y="10"/>
                      <a:pt x="34" y="11"/>
                      <a:pt x="32" y="13"/>
                    </a:cubicBezTo>
                    <a:cubicBezTo>
                      <a:pt x="37" y="17"/>
                      <a:pt x="41" y="17"/>
                      <a:pt x="44" y="20"/>
                    </a:cubicBezTo>
                    <a:cubicBezTo>
                      <a:pt x="42" y="19"/>
                      <a:pt x="41" y="17"/>
                      <a:pt x="41" y="14"/>
                    </a:cubicBezTo>
                    <a:cubicBezTo>
                      <a:pt x="41" y="10"/>
                      <a:pt x="45" y="7"/>
                      <a:pt x="49" y="7"/>
                    </a:cubicBezTo>
                    <a:cubicBezTo>
                      <a:pt x="60" y="7"/>
                      <a:pt x="57" y="22"/>
                      <a:pt x="68" y="26"/>
                    </a:cubicBezTo>
                    <a:cubicBezTo>
                      <a:pt x="66" y="19"/>
                      <a:pt x="63" y="15"/>
                      <a:pt x="63" y="7"/>
                    </a:cubicBezTo>
                    <a:cubicBezTo>
                      <a:pt x="63" y="0"/>
                      <a:pt x="66" y="0"/>
                      <a:pt x="72" y="0"/>
                    </a:cubicBezTo>
                    <a:cubicBezTo>
                      <a:pt x="78" y="0"/>
                      <a:pt x="90" y="4"/>
                      <a:pt x="90" y="9"/>
                    </a:cubicBezTo>
                    <a:cubicBezTo>
                      <a:pt x="90" y="12"/>
                      <a:pt x="88" y="15"/>
                      <a:pt x="88" y="18"/>
                    </a:cubicBezTo>
                    <a:cubicBezTo>
                      <a:pt x="92" y="16"/>
                      <a:pt x="93" y="12"/>
                      <a:pt x="96" y="12"/>
                    </a:cubicBezTo>
                    <a:cubicBezTo>
                      <a:pt x="103" y="12"/>
                      <a:pt x="102" y="19"/>
                      <a:pt x="102" y="23"/>
                    </a:cubicBezTo>
                    <a:cubicBezTo>
                      <a:pt x="103" y="23"/>
                      <a:pt x="105" y="23"/>
                      <a:pt x="106" y="23"/>
                    </a:cubicBezTo>
                    <a:cubicBezTo>
                      <a:pt x="113" y="23"/>
                      <a:pt x="137" y="36"/>
                      <a:pt x="141" y="41"/>
                    </a:cubicBezTo>
                    <a:cubicBezTo>
                      <a:pt x="140" y="42"/>
                      <a:pt x="138" y="42"/>
                      <a:pt x="137" y="42"/>
                    </a:cubicBezTo>
                    <a:cubicBezTo>
                      <a:pt x="140" y="43"/>
                      <a:pt x="142" y="42"/>
                      <a:pt x="145" y="42"/>
                    </a:cubicBezTo>
                    <a:cubicBezTo>
                      <a:pt x="146" y="44"/>
                      <a:pt x="146" y="47"/>
                      <a:pt x="145" y="49"/>
                    </a:cubicBezTo>
                    <a:cubicBezTo>
                      <a:pt x="151" y="49"/>
                      <a:pt x="154" y="49"/>
                      <a:pt x="159" y="49"/>
                    </a:cubicBezTo>
                    <a:cubicBezTo>
                      <a:pt x="159" y="62"/>
                      <a:pt x="172" y="59"/>
                      <a:pt x="176" y="64"/>
                    </a:cubicBezTo>
                    <a:cubicBezTo>
                      <a:pt x="164" y="68"/>
                      <a:pt x="159" y="76"/>
                      <a:pt x="148" y="79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6" name="Freeform 27"/>
              <p:cNvSpPr>
                <a:spLocks/>
              </p:cNvSpPr>
              <p:nvPr/>
            </p:nvSpPr>
            <p:spPr bwMode="auto">
              <a:xfrm>
                <a:off x="4683125" y="1089025"/>
                <a:ext cx="150813" cy="55563"/>
              </a:xfrm>
              <a:custGeom>
                <a:avLst/>
                <a:gdLst/>
                <a:ahLst/>
                <a:cxnLst>
                  <a:cxn ang="0">
                    <a:pos x="114" y="19"/>
                  </a:cxn>
                  <a:cxn ang="0">
                    <a:pos x="69" y="41"/>
                  </a:cxn>
                  <a:cxn ang="0">
                    <a:pos x="54" y="34"/>
                  </a:cxn>
                  <a:cxn ang="0">
                    <a:pos x="28" y="34"/>
                  </a:cxn>
                  <a:cxn ang="0">
                    <a:pos x="23" y="26"/>
                  </a:cxn>
                  <a:cxn ang="0">
                    <a:pos x="32" y="26"/>
                  </a:cxn>
                  <a:cxn ang="0">
                    <a:pos x="43" y="24"/>
                  </a:cxn>
                  <a:cxn ang="0">
                    <a:pos x="22" y="23"/>
                  </a:cxn>
                  <a:cxn ang="0">
                    <a:pos x="6" y="18"/>
                  </a:cxn>
                  <a:cxn ang="0">
                    <a:pos x="0" y="7"/>
                  </a:cxn>
                  <a:cxn ang="0">
                    <a:pos x="6" y="7"/>
                  </a:cxn>
                  <a:cxn ang="0">
                    <a:pos x="15" y="8"/>
                  </a:cxn>
                  <a:cxn ang="0">
                    <a:pos x="15" y="6"/>
                  </a:cxn>
                  <a:cxn ang="0">
                    <a:pos x="23" y="6"/>
                  </a:cxn>
                  <a:cxn ang="0">
                    <a:pos x="21" y="2"/>
                  </a:cxn>
                  <a:cxn ang="0">
                    <a:pos x="33" y="2"/>
                  </a:cxn>
                  <a:cxn ang="0">
                    <a:pos x="51" y="11"/>
                  </a:cxn>
                  <a:cxn ang="0">
                    <a:pos x="62" y="0"/>
                  </a:cxn>
                  <a:cxn ang="0">
                    <a:pos x="67" y="0"/>
                  </a:cxn>
                  <a:cxn ang="0">
                    <a:pos x="67" y="12"/>
                  </a:cxn>
                  <a:cxn ang="0">
                    <a:pos x="80" y="7"/>
                  </a:cxn>
                  <a:cxn ang="0">
                    <a:pos x="95" y="7"/>
                  </a:cxn>
                  <a:cxn ang="0">
                    <a:pos x="114" y="19"/>
                  </a:cxn>
                </a:cxnLst>
                <a:rect l="0" t="0" r="r" b="b"/>
                <a:pathLst>
                  <a:path w="114" h="41">
                    <a:moveTo>
                      <a:pt x="114" y="19"/>
                    </a:moveTo>
                    <a:cubicBezTo>
                      <a:pt x="104" y="26"/>
                      <a:pt x="82" y="41"/>
                      <a:pt x="69" y="41"/>
                    </a:cubicBezTo>
                    <a:cubicBezTo>
                      <a:pt x="61" y="41"/>
                      <a:pt x="57" y="39"/>
                      <a:pt x="54" y="34"/>
                    </a:cubicBezTo>
                    <a:cubicBezTo>
                      <a:pt x="28" y="34"/>
                      <a:pt x="28" y="34"/>
                      <a:pt x="28" y="34"/>
                    </a:cubicBezTo>
                    <a:cubicBezTo>
                      <a:pt x="25" y="32"/>
                      <a:pt x="23" y="30"/>
                      <a:pt x="23" y="26"/>
                    </a:cubicBezTo>
                    <a:cubicBezTo>
                      <a:pt x="26" y="26"/>
                      <a:pt x="31" y="26"/>
                      <a:pt x="32" y="26"/>
                    </a:cubicBezTo>
                    <a:cubicBezTo>
                      <a:pt x="36" y="25"/>
                      <a:pt x="40" y="25"/>
                      <a:pt x="43" y="24"/>
                    </a:cubicBezTo>
                    <a:cubicBezTo>
                      <a:pt x="41" y="24"/>
                      <a:pt x="23" y="23"/>
                      <a:pt x="22" y="23"/>
                    </a:cubicBezTo>
                    <a:cubicBezTo>
                      <a:pt x="14" y="23"/>
                      <a:pt x="6" y="28"/>
                      <a:pt x="6" y="18"/>
                    </a:cubicBezTo>
                    <a:cubicBezTo>
                      <a:pt x="3" y="15"/>
                      <a:pt x="0" y="12"/>
                      <a:pt x="0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9" y="9"/>
                      <a:pt x="13" y="10"/>
                      <a:pt x="15" y="8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6" y="4"/>
                      <a:pt x="48" y="11"/>
                      <a:pt x="51" y="11"/>
                    </a:cubicBezTo>
                    <a:cubicBezTo>
                      <a:pt x="56" y="11"/>
                      <a:pt x="59" y="2"/>
                      <a:pt x="62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7" y="6"/>
                      <a:pt x="66" y="8"/>
                      <a:pt x="67" y="12"/>
                    </a:cubicBezTo>
                    <a:cubicBezTo>
                      <a:pt x="71" y="12"/>
                      <a:pt x="73" y="7"/>
                      <a:pt x="80" y="7"/>
                    </a:cubicBezTo>
                    <a:cubicBezTo>
                      <a:pt x="91" y="7"/>
                      <a:pt x="88" y="7"/>
                      <a:pt x="95" y="7"/>
                    </a:cubicBezTo>
                    <a:cubicBezTo>
                      <a:pt x="103" y="7"/>
                      <a:pt x="112" y="14"/>
                      <a:pt x="114" y="19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7" name="Freeform 28"/>
              <p:cNvSpPr>
                <a:spLocks/>
              </p:cNvSpPr>
              <p:nvPr/>
            </p:nvSpPr>
            <p:spPr bwMode="auto">
              <a:xfrm>
                <a:off x="4219575" y="1841500"/>
                <a:ext cx="73025" cy="87313"/>
              </a:xfrm>
              <a:custGeom>
                <a:avLst/>
                <a:gdLst/>
                <a:ahLst/>
                <a:cxnLst>
                  <a:cxn ang="0">
                    <a:pos x="9" y="19"/>
                  </a:cxn>
                  <a:cxn ang="0">
                    <a:pos x="22" y="14"/>
                  </a:cxn>
                  <a:cxn ang="0">
                    <a:pos x="19" y="8"/>
                  </a:cxn>
                  <a:cxn ang="0">
                    <a:pos x="32" y="0"/>
                  </a:cxn>
                  <a:cxn ang="0">
                    <a:pos x="40" y="0"/>
                  </a:cxn>
                  <a:cxn ang="0">
                    <a:pos x="55" y="18"/>
                  </a:cxn>
                  <a:cxn ang="0">
                    <a:pos x="47" y="24"/>
                  </a:cxn>
                  <a:cxn ang="0">
                    <a:pos x="47" y="39"/>
                  </a:cxn>
                  <a:cxn ang="0">
                    <a:pos x="47" y="52"/>
                  </a:cxn>
                  <a:cxn ang="0">
                    <a:pos x="35" y="54"/>
                  </a:cxn>
                  <a:cxn ang="0">
                    <a:pos x="19" y="64"/>
                  </a:cxn>
                  <a:cxn ang="0">
                    <a:pos x="11" y="65"/>
                  </a:cxn>
                  <a:cxn ang="0">
                    <a:pos x="0" y="55"/>
                  </a:cxn>
                  <a:cxn ang="0">
                    <a:pos x="13" y="33"/>
                  </a:cxn>
                  <a:cxn ang="0">
                    <a:pos x="4" y="23"/>
                  </a:cxn>
                  <a:cxn ang="0">
                    <a:pos x="9" y="19"/>
                  </a:cxn>
                </a:cxnLst>
                <a:rect l="0" t="0" r="r" b="b"/>
                <a:pathLst>
                  <a:path w="55" h="65">
                    <a:moveTo>
                      <a:pt x="9" y="19"/>
                    </a:moveTo>
                    <a:cubicBezTo>
                      <a:pt x="12" y="19"/>
                      <a:pt x="19" y="16"/>
                      <a:pt x="22" y="14"/>
                    </a:cubicBezTo>
                    <a:cubicBezTo>
                      <a:pt x="20" y="11"/>
                      <a:pt x="19" y="10"/>
                      <a:pt x="19" y="8"/>
                    </a:cubicBezTo>
                    <a:cubicBezTo>
                      <a:pt x="19" y="5"/>
                      <a:pt x="28" y="0"/>
                      <a:pt x="32" y="0"/>
                    </a:cubicBezTo>
                    <a:cubicBezTo>
                      <a:pt x="35" y="0"/>
                      <a:pt x="37" y="0"/>
                      <a:pt x="40" y="0"/>
                    </a:cubicBezTo>
                    <a:cubicBezTo>
                      <a:pt x="50" y="0"/>
                      <a:pt x="55" y="10"/>
                      <a:pt x="55" y="18"/>
                    </a:cubicBezTo>
                    <a:cubicBezTo>
                      <a:pt x="55" y="21"/>
                      <a:pt x="47" y="21"/>
                      <a:pt x="47" y="24"/>
                    </a:cubicBezTo>
                    <a:cubicBezTo>
                      <a:pt x="47" y="27"/>
                      <a:pt x="47" y="39"/>
                      <a:pt x="47" y="39"/>
                    </a:cubicBezTo>
                    <a:cubicBezTo>
                      <a:pt x="47" y="43"/>
                      <a:pt x="50" y="48"/>
                      <a:pt x="47" y="52"/>
                    </a:cubicBezTo>
                    <a:cubicBezTo>
                      <a:pt x="44" y="54"/>
                      <a:pt x="40" y="54"/>
                      <a:pt x="35" y="54"/>
                    </a:cubicBezTo>
                    <a:cubicBezTo>
                      <a:pt x="28" y="54"/>
                      <a:pt x="23" y="61"/>
                      <a:pt x="19" y="64"/>
                    </a:cubicBezTo>
                    <a:cubicBezTo>
                      <a:pt x="17" y="65"/>
                      <a:pt x="13" y="65"/>
                      <a:pt x="11" y="65"/>
                    </a:cubicBezTo>
                    <a:cubicBezTo>
                      <a:pt x="6" y="65"/>
                      <a:pt x="0" y="60"/>
                      <a:pt x="0" y="55"/>
                    </a:cubicBezTo>
                    <a:cubicBezTo>
                      <a:pt x="0" y="44"/>
                      <a:pt x="11" y="43"/>
                      <a:pt x="13" y="33"/>
                    </a:cubicBezTo>
                    <a:cubicBezTo>
                      <a:pt x="8" y="30"/>
                      <a:pt x="4" y="28"/>
                      <a:pt x="4" y="23"/>
                    </a:cubicBezTo>
                    <a:cubicBezTo>
                      <a:pt x="4" y="18"/>
                      <a:pt x="8" y="19"/>
                      <a:pt x="9" y="19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8" name="Freeform 29"/>
              <p:cNvSpPr>
                <a:spLocks/>
              </p:cNvSpPr>
              <p:nvPr/>
            </p:nvSpPr>
            <p:spPr bwMode="auto">
              <a:xfrm>
                <a:off x="4276725" y="1758950"/>
                <a:ext cx="139700" cy="203200"/>
              </a:xfrm>
              <a:custGeom>
                <a:avLst/>
                <a:gdLst/>
                <a:ahLst/>
                <a:cxnLst>
                  <a:cxn ang="0">
                    <a:pos x="96" y="102"/>
                  </a:cxn>
                  <a:cxn ang="0">
                    <a:pos x="91" y="128"/>
                  </a:cxn>
                  <a:cxn ang="0">
                    <a:pos x="100" y="133"/>
                  </a:cxn>
                  <a:cxn ang="0">
                    <a:pos x="70" y="139"/>
                  </a:cxn>
                  <a:cxn ang="0">
                    <a:pos x="39" y="141"/>
                  </a:cxn>
                  <a:cxn ang="0">
                    <a:pos x="26" y="148"/>
                  </a:cxn>
                  <a:cxn ang="0">
                    <a:pos x="16" y="152"/>
                  </a:cxn>
                  <a:cxn ang="0">
                    <a:pos x="32" y="133"/>
                  </a:cxn>
                  <a:cxn ang="0">
                    <a:pos x="46" y="124"/>
                  </a:cxn>
                  <a:cxn ang="0">
                    <a:pos x="26" y="123"/>
                  </a:cxn>
                  <a:cxn ang="0">
                    <a:pos x="19" y="123"/>
                  </a:cxn>
                  <a:cxn ang="0">
                    <a:pos x="28" y="96"/>
                  </a:cxn>
                  <a:cxn ang="0">
                    <a:pos x="48" y="81"/>
                  </a:cxn>
                  <a:cxn ang="0">
                    <a:pos x="40" y="70"/>
                  </a:cxn>
                  <a:cxn ang="0">
                    <a:pos x="26" y="72"/>
                  </a:cxn>
                  <a:cxn ang="0">
                    <a:pos x="23" y="59"/>
                  </a:cxn>
                  <a:cxn ang="0">
                    <a:pos x="16" y="49"/>
                  </a:cxn>
                  <a:cxn ang="0">
                    <a:pos x="12" y="55"/>
                  </a:cxn>
                  <a:cxn ang="0">
                    <a:pos x="14" y="45"/>
                  </a:cxn>
                  <a:cxn ang="0">
                    <a:pos x="8" y="38"/>
                  </a:cxn>
                  <a:cxn ang="0">
                    <a:pos x="11" y="29"/>
                  </a:cxn>
                  <a:cxn ang="0">
                    <a:pos x="8" y="20"/>
                  </a:cxn>
                  <a:cxn ang="0">
                    <a:pos x="12" y="21"/>
                  </a:cxn>
                  <a:cxn ang="0">
                    <a:pos x="16" y="14"/>
                  </a:cxn>
                  <a:cxn ang="0">
                    <a:pos x="25" y="0"/>
                  </a:cxn>
                  <a:cxn ang="0">
                    <a:pos x="42" y="4"/>
                  </a:cxn>
                  <a:cxn ang="0">
                    <a:pos x="33" y="19"/>
                  </a:cxn>
                  <a:cxn ang="0">
                    <a:pos x="47" y="46"/>
                  </a:cxn>
                  <a:cxn ang="0">
                    <a:pos x="53" y="50"/>
                  </a:cxn>
                  <a:cxn ang="0">
                    <a:pos x="84" y="89"/>
                  </a:cxn>
                  <a:cxn ang="0">
                    <a:pos x="87" y="102"/>
                  </a:cxn>
                  <a:cxn ang="0">
                    <a:pos x="92" y="102"/>
                  </a:cxn>
                </a:cxnLst>
                <a:rect l="0" t="0" r="r" b="b"/>
                <a:pathLst>
                  <a:path w="105" h="152">
                    <a:moveTo>
                      <a:pt x="90" y="103"/>
                    </a:moveTo>
                    <a:cubicBezTo>
                      <a:pt x="93" y="101"/>
                      <a:pt x="92" y="102"/>
                      <a:pt x="96" y="102"/>
                    </a:cubicBezTo>
                    <a:cubicBezTo>
                      <a:pt x="101" y="102"/>
                      <a:pt x="105" y="106"/>
                      <a:pt x="105" y="110"/>
                    </a:cubicBezTo>
                    <a:cubicBezTo>
                      <a:pt x="105" y="118"/>
                      <a:pt x="94" y="122"/>
                      <a:pt x="91" y="128"/>
                    </a:cubicBezTo>
                    <a:cubicBezTo>
                      <a:pt x="95" y="129"/>
                      <a:pt x="97" y="130"/>
                      <a:pt x="100" y="130"/>
                    </a:cubicBezTo>
                    <a:cubicBezTo>
                      <a:pt x="100" y="133"/>
                      <a:pt x="100" y="133"/>
                      <a:pt x="100" y="133"/>
                    </a:cubicBezTo>
                    <a:cubicBezTo>
                      <a:pt x="96" y="137"/>
                      <a:pt x="93" y="139"/>
                      <a:pt x="87" y="139"/>
                    </a:cubicBezTo>
                    <a:cubicBezTo>
                      <a:pt x="82" y="139"/>
                      <a:pt x="72" y="139"/>
                      <a:pt x="70" y="139"/>
                    </a:cubicBezTo>
                    <a:cubicBezTo>
                      <a:pt x="65" y="139"/>
                      <a:pt x="53" y="143"/>
                      <a:pt x="47" y="143"/>
                    </a:cubicBezTo>
                    <a:cubicBezTo>
                      <a:pt x="44" y="143"/>
                      <a:pt x="42" y="141"/>
                      <a:pt x="39" y="141"/>
                    </a:cubicBezTo>
                    <a:cubicBezTo>
                      <a:pt x="34" y="141"/>
                      <a:pt x="32" y="144"/>
                      <a:pt x="32" y="148"/>
                    </a:cubicBezTo>
                    <a:cubicBezTo>
                      <a:pt x="26" y="148"/>
                      <a:pt x="26" y="148"/>
                      <a:pt x="26" y="148"/>
                    </a:cubicBezTo>
                    <a:cubicBezTo>
                      <a:pt x="23" y="148"/>
                      <a:pt x="21" y="150"/>
                      <a:pt x="19" y="152"/>
                    </a:cubicBezTo>
                    <a:cubicBezTo>
                      <a:pt x="16" y="152"/>
                      <a:pt x="16" y="152"/>
                      <a:pt x="16" y="152"/>
                    </a:cubicBezTo>
                    <a:cubicBezTo>
                      <a:pt x="16" y="149"/>
                      <a:pt x="16" y="149"/>
                      <a:pt x="16" y="149"/>
                    </a:cubicBezTo>
                    <a:cubicBezTo>
                      <a:pt x="17" y="147"/>
                      <a:pt x="30" y="133"/>
                      <a:pt x="32" y="133"/>
                    </a:cubicBezTo>
                    <a:cubicBezTo>
                      <a:pt x="38" y="131"/>
                      <a:pt x="47" y="133"/>
                      <a:pt x="47" y="127"/>
                    </a:cubicBezTo>
                    <a:cubicBezTo>
                      <a:pt x="47" y="126"/>
                      <a:pt x="46" y="125"/>
                      <a:pt x="46" y="124"/>
                    </a:cubicBezTo>
                    <a:cubicBezTo>
                      <a:pt x="44" y="126"/>
                      <a:pt x="41" y="128"/>
                      <a:pt x="38" y="128"/>
                    </a:cubicBezTo>
                    <a:cubicBezTo>
                      <a:pt x="32" y="128"/>
                      <a:pt x="30" y="123"/>
                      <a:pt x="26" y="123"/>
                    </a:cubicBezTo>
                    <a:cubicBezTo>
                      <a:pt x="23" y="123"/>
                      <a:pt x="23" y="125"/>
                      <a:pt x="21" y="125"/>
                    </a:cubicBezTo>
                    <a:cubicBezTo>
                      <a:pt x="20" y="125"/>
                      <a:pt x="19" y="124"/>
                      <a:pt x="19" y="123"/>
                    </a:cubicBezTo>
                    <a:cubicBezTo>
                      <a:pt x="19" y="116"/>
                      <a:pt x="31" y="116"/>
                      <a:pt x="31" y="109"/>
                    </a:cubicBezTo>
                    <a:cubicBezTo>
                      <a:pt x="31" y="103"/>
                      <a:pt x="28" y="101"/>
                      <a:pt x="28" y="96"/>
                    </a:cubicBezTo>
                    <a:cubicBezTo>
                      <a:pt x="36" y="96"/>
                      <a:pt x="45" y="92"/>
                      <a:pt x="48" y="88"/>
                    </a:cubicBezTo>
                    <a:cubicBezTo>
                      <a:pt x="48" y="81"/>
                      <a:pt x="48" y="81"/>
                      <a:pt x="48" y="81"/>
                    </a:cubicBezTo>
                    <a:cubicBezTo>
                      <a:pt x="43" y="82"/>
                      <a:pt x="37" y="81"/>
                      <a:pt x="37" y="77"/>
                    </a:cubicBezTo>
                    <a:cubicBezTo>
                      <a:pt x="37" y="73"/>
                      <a:pt x="39" y="72"/>
                      <a:pt x="40" y="70"/>
                    </a:cubicBezTo>
                    <a:cubicBezTo>
                      <a:pt x="39" y="70"/>
                      <a:pt x="38" y="70"/>
                      <a:pt x="36" y="70"/>
                    </a:cubicBezTo>
                    <a:cubicBezTo>
                      <a:pt x="32" y="70"/>
                      <a:pt x="30" y="72"/>
                      <a:pt x="26" y="72"/>
                    </a:cubicBezTo>
                    <a:cubicBezTo>
                      <a:pt x="22" y="72"/>
                      <a:pt x="19" y="72"/>
                      <a:pt x="19" y="69"/>
                    </a:cubicBezTo>
                    <a:cubicBezTo>
                      <a:pt x="19" y="65"/>
                      <a:pt x="23" y="63"/>
                      <a:pt x="23" y="59"/>
                    </a:cubicBezTo>
                    <a:cubicBezTo>
                      <a:pt x="23" y="55"/>
                      <a:pt x="22" y="55"/>
                      <a:pt x="23" y="51"/>
                    </a:cubicBezTo>
                    <a:cubicBezTo>
                      <a:pt x="20" y="51"/>
                      <a:pt x="17" y="50"/>
                      <a:pt x="16" y="49"/>
                    </a:cubicBezTo>
                    <a:cubicBezTo>
                      <a:pt x="14" y="52"/>
                      <a:pt x="15" y="54"/>
                      <a:pt x="16" y="55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2" y="52"/>
                      <a:pt x="12" y="51"/>
                      <a:pt x="12" y="48"/>
                    </a:cubicBezTo>
                    <a:cubicBezTo>
                      <a:pt x="12" y="47"/>
                      <a:pt x="13" y="46"/>
                      <a:pt x="14" y="45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2" y="41"/>
                      <a:pt x="8" y="40"/>
                      <a:pt x="8" y="38"/>
                    </a:cubicBezTo>
                    <a:cubicBezTo>
                      <a:pt x="8" y="36"/>
                      <a:pt x="11" y="32"/>
                      <a:pt x="11" y="32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4" y="27"/>
                      <a:pt x="0" y="26"/>
                      <a:pt x="0" y="20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3"/>
                      <a:pt x="10" y="24"/>
                      <a:pt x="11" y="24"/>
                    </a:cubicBezTo>
                    <a:cubicBezTo>
                      <a:pt x="12" y="24"/>
                      <a:pt x="12" y="22"/>
                      <a:pt x="12" y="21"/>
                    </a:cubicBezTo>
                    <a:cubicBezTo>
                      <a:pt x="12" y="21"/>
                      <a:pt x="10" y="20"/>
                      <a:pt x="10" y="19"/>
                    </a:cubicBezTo>
                    <a:cubicBezTo>
                      <a:pt x="10" y="15"/>
                      <a:pt x="13" y="14"/>
                      <a:pt x="16" y="14"/>
                    </a:cubicBezTo>
                    <a:cubicBezTo>
                      <a:pt x="16" y="10"/>
                      <a:pt x="18" y="8"/>
                      <a:pt x="18" y="6"/>
                    </a:cubicBezTo>
                    <a:cubicBezTo>
                      <a:pt x="18" y="4"/>
                      <a:pt x="23" y="0"/>
                      <a:pt x="25" y="0"/>
                    </a:cubicBezTo>
                    <a:cubicBezTo>
                      <a:pt x="30" y="0"/>
                      <a:pt x="35" y="0"/>
                      <a:pt x="38" y="0"/>
                    </a:cubicBezTo>
                    <a:cubicBezTo>
                      <a:pt x="40" y="0"/>
                      <a:pt x="42" y="3"/>
                      <a:pt x="42" y="4"/>
                    </a:cubicBezTo>
                    <a:cubicBezTo>
                      <a:pt x="42" y="10"/>
                      <a:pt x="33" y="10"/>
                      <a:pt x="31" y="16"/>
                    </a:cubicBezTo>
                    <a:cubicBezTo>
                      <a:pt x="31" y="17"/>
                      <a:pt x="32" y="18"/>
                      <a:pt x="33" y="19"/>
                    </a:cubicBezTo>
                    <a:cubicBezTo>
                      <a:pt x="59" y="19"/>
                      <a:pt x="59" y="19"/>
                      <a:pt x="59" y="19"/>
                    </a:cubicBezTo>
                    <a:cubicBezTo>
                      <a:pt x="60" y="32"/>
                      <a:pt x="47" y="37"/>
                      <a:pt x="47" y="46"/>
                    </a:cubicBezTo>
                    <a:cubicBezTo>
                      <a:pt x="45" y="47"/>
                      <a:pt x="44" y="48"/>
                      <a:pt x="43" y="50"/>
                    </a:cubicBezTo>
                    <a:cubicBezTo>
                      <a:pt x="48" y="51"/>
                      <a:pt x="50" y="49"/>
                      <a:pt x="53" y="50"/>
                    </a:cubicBezTo>
                    <a:cubicBezTo>
                      <a:pt x="62" y="53"/>
                      <a:pt x="60" y="63"/>
                      <a:pt x="66" y="69"/>
                    </a:cubicBezTo>
                    <a:cubicBezTo>
                      <a:pt x="73" y="76"/>
                      <a:pt x="84" y="79"/>
                      <a:pt x="84" y="89"/>
                    </a:cubicBezTo>
                    <a:cubicBezTo>
                      <a:pt x="84" y="93"/>
                      <a:pt x="89" y="95"/>
                      <a:pt x="89" y="99"/>
                    </a:cubicBezTo>
                    <a:cubicBezTo>
                      <a:pt x="89" y="100"/>
                      <a:pt x="88" y="101"/>
                      <a:pt x="87" y="102"/>
                    </a:cubicBezTo>
                    <a:cubicBezTo>
                      <a:pt x="87" y="105"/>
                      <a:pt x="87" y="105"/>
                      <a:pt x="87" y="105"/>
                    </a:cubicBezTo>
                    <a:cubicBezTo>
                      <a:pt x="90" y="104"/>
                      <a:pt x="90" y="103"/>
                      <a:pt x="92" y="102"/>
                    </a:cubicBezTo>
                    <a:lnTo>
                      <a:pt x="90" y="10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9" name="Freeform 31"/>
              <p:cNvSpPr>
                <a:spLocks/>
              </p:cNvSpPr>
              <p:nvPr/>
            </p:nvSpPr>
            <p:spPr bwMode="auto">
              <a:xfrm>
                <a:off x="4592638" y="2203450"/>
                <a:ext cx="46038" cy="30163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8"/>
                  </a:cxn>
                  <a:cxn ang="0">
                    <a:pos x="7" y="10"/>
                  </a:cxn>
                  <a:cxn ang="0">
                    <a:pos x="27" y="21"/>
                  </a:cxn>
                  <a:cxn ang="0">
                    <a:pos x="30" y="23"/>
                  </a:cxn>
                  <a:cxn ang="0">
                    <a:pos x="33" y="20"/>
                  </a:cxn>
                  <a:cxn ang="0">
                    <a:pos x="31" y="13"/>
                  </a:cxn>
                  <a:cxn ang="0">
                    <a:pos x="33" y="8"/>
                  </a:cxn>
                  <a:cxn ang="0">
                    <a:pos x="35" y="3"/>
                  </a:cxn>
                  <a:cxn ang="0">
                    <a:pos x="20" y="6"/>
                  </a:cxn>
                  <a:cxn ang="0">
                    <a:pos x="0" y="5"/>
                  </a:cxn>
                </a:cxnLst>
                <a:rect l="0" t="0" r="r" b="b"/>
                <a:pathLst>
                  <a:path w="35" h="23">
                    <a:moveTo>
                      <a:pt x="0" y="5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2" y="10"/>
                      <a:pt x="5" y="10"/>
                      <a:pt x="7" y="10"/>
                    </a:cubicBezTo>
                    <a:cubicBezTo>
                      <a:pt x="14" y="12"/>
                      <a:pt x="19" y="20"/>
                      <a:pt x="27" y="21"/>
                    </a:cubicBezTo>
                    <a:cubicBezTo>
                      <a:pt x="27" y="23"/>
                      <a:pt x="29" y="23"/>
                      <a:pt x="30" y="23"/>
                    </a:cubicBezTo>
                    <a:cubicBezTo>
                      <a:pt x="32" y="23"/>
                      <a:pt x="33" y="21"/>
                      <a:pt x="33" y="20"/>
                    </a:cubicBezTo>
                    <a:cubicBezTo>
                      <a:pt x="33" y="17"/>
                      <a:pt x="31" y="16"/>
                      <a:pt x="31" y="13"/>
                    </a:cubicBezTo>
                    <a:cubicBezTo>
                      <a:pt x="31" y="11"/>
                      <a:pt x="33" y="8"/>
                      <a:pt x="33" y="8"/>
                    </a:cubicBezTo>
                    <a:cubicBezTo>
                      <a:pt x="35" y="3"/>
                      <a:pt x="35" y="3"/>
                      <a:pt x="35" y="3"/>
                    </a:cubicBezTo>
                    <a:cubicBezTo>
                      <a:pt x="28" y="2"/>
                      <a:pt x="25" y="6"/>
                      <a:pt x="20" y="6"/>
                    </a:cubicBezTo>
                    <a:cubicBezTo>
                      <a:pt x="14" y="6"/>
                      <a:pt x="10" y="0"/>
                      <a:pt x="0" y="5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0" name="Freeform 32"/>
              <p:cNvSpPr>
                <a:spLocks/>
              </p:cNvSpPr>
              <p:nvPr/>
            </p:nvSpPr>
            <p:spPr bwMode="auto">
              <a:xfrm>
                <a:off x="4527550" y="2111375"/>
                <a:ext cx="15875" cy="30163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10" y="0"/>
                  </a:cxn>
                  <a:cxn ang="0">
                    <a:pos x="12" y="5"/>
                  </a:cxn>
                  <a:cxn ang="0">
                    <a:pos x="8" y="23"/>
                  </a:cxn>
                  <a:cxn ang="0">
                    <a:pos x="0" y="6"/>
                  </a:cxn>
                  <a:cxn ang="0">
                    <a:pos x="3" y="5"/>
                  </a:cxn>
                </a:cxnLst>
                <a:rect l="0" t="0" r="r" b="b"/>
                <a:pathLst>
                  <a:path w="12" h="23">
                    <a:moveTo>
                      <a:pt x="3" y="5"/>
                    </a:moveTo>
                    <a:cubicBezTo>
                      <a:pt x="6" y="5"/>
                      <a:pt x="8" y="1"/>
                      <a:pt x="10" y="0"/>
                    </a:cubicBezTo>
                    <a:cubicBezTo>
                      <a:pt x="10" y="3"/>
                      <a:pt x="11" y="5"/>
                      <a:pt x="12" y="5"/>
                    </a:cubicBezTo>
                    <a:cubicBezTo>
                      <a:pt x="11" y="11"/>
                      <a:pt x="10" y="20"/>
                      <a:pt x="8" y="23"/>
                    </a:cubicBezTo>
                    <a:cubicBezTo>
                      <a:pt x="4" y="22"/>
                      <a:pt x="2" y="9"/>
                      <a:pt x="0" y="6"/>
                    </a:cubicBezTo>
                    <a:cubicBezTo>
                      <a:pt x="1" y="6"/>
                      <a:pt x="2" y="5"/>
                      <a:pt x="3" y="5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1" name="Freeform 33"/>
              <p:cNvSpPr>
                <a:spLocks/>
              </p:cNvSpPr>
              <p:nvPr/>
            </p:nvSpPr>
            <p:spPr bwMode="auto">
              <a:xfrm>
                <a:off x="4524375" y="2144713"/>
                <a:ext cx="25400" cy="44450"/>
              </a:xfrm>
              <a:custGeom>
                <a:avLst/>
                <a:gdLst/>
                <a:ahLst/>
                <a:cxnLst>
                  <a:cxn ang="0">
                    <a:pos x="5" y="15"/>
                  </a:cxn>
                  <a:cxn ang="0">
                    <a:pos x="0" y="6"/>
                  </a:cxn>
                  <a:cxn ang="0">
                    <a:pos x="9" y="0"/>
                  </a:cxn>
                  <a:cxn ang="0">
                    <a:pos x="15" y="3"/>
                  </a:cxn>
                  <a:cxn ang="0">
                    <a:pos x="18" y="21"/>
                  </a:cxn>
                  <a:cxn ang="0">
                    <a:pos x="6" y="33"/>
                  </a:cxn>
                  <a:cxn ang="0">
                    <a:pos x="2" y="24"/>
                  </a:cxn>
                  <a:cxn ang="0">
                    <a:pos x="5" y="15"/>
                  </a:cxn>
                </a:cxnLst>
                <a:rect l="0" t="0" r="r" b="b"/>
                <a:pathLst>
                  <a:path w="19" h="33">
                    <a:moveTo>
                      <a:pt x="5" y="15"/>
                    </a:moveTo>
                    <a:cubicBezTo>
                      <a:pt x="5" y="12"/>
                      <a:pt x="1" y="9"/>
                      <a:pt x="0" y="6"/>
                    </a:cubicBezTo>
                    <a:cubicBezTo>
                      <a:pt x="5" y="4"/>
                      <a:pt x="5" y="0"/>
                      <a:pt x="9" y="0"/>
                    </a:cubicBezTo>
                    <a:cubicBezTo>
                      <a:pt x="13" y="0"/>
                      <a:pt x="14" y="3"/>
                      <a:pt x="15" y="3"/>
                    </a:cubicBezTo>
                    <a:cubicBezTo>
                      <a:pt x="19" y="10"/>
                      <a:pt x="18" y="14"/>
                      <a:pt x="18" y="21"/>
                    </a:cubicBezTo>
                    <a:cubicBezTo>
                      <a:pt x="18" y="27"/>
                      <a:pt x="10" y="33"/>
                      <a:pt x="6" y="33"/>
                    </a:cubicBezTo>
                    <a:cubicBezTo>
                      <a:pt x="2" y="33"/>
                      <a:pt x="2" y="27"/>
                      <a:pt x="2" y="24"/>
                    </a:cubicBezTo>
                    <a:cubicBezTo>
                      <a:pt x="2" y="20"/>
                      <a:pt x="5" y="18"/>
                      <a:pt x="5" y="15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2" name="Freeform 34"/>
              <p:cNvSpPr>
                <a:spLocks/>
              </p:cNvSpPr>
              <p:nvPr/>
            </p:nvSpPr>
            <p:spPr bwMode="auto">
              <a:xfrm>
                <a:off x="4429125" y="2171700"/>
                <a:ext cx="12700" cy="9525"/>
              </a:xfrm>
              <a:custGeom>
                <a:avLst/>
                <a:gdLst/>
                <a:ahLst/>
                <a:cxnLst>
                  <a:cxn ang="0">
                    <a:pos x="9" y="5"/>
                  </a:cxn>
                  <a:cxn ang="0">
                    <a:pos x="6" y="7"/>
                  </a:cxn>
                  <a:cxn ang="0">
                    <a:pos x="0" y="3"/>
                  </a:cxn>
                  <a:cxn ang="0">
                    <a:pos x="7" y="0"/>
                  </a:cxn>
                  <a:cxn ang="0">
                    <a:pos x="9" y="5"/>
                  </a:cxn>
                </a:cxnLst>
                <a:rect l="0" t="0" r="r" b="b"/>
                <a:pathLst>
                  <a:path w="9" h="7">
                    <a:moveTo>
                      <a:pt x="9" y="5"/>
                    </a:moveTo>
                    <a:cubicBezTo>
                      <a:pt x="9" y="6"/>
                      <a:pt x="7" y="7"/>
                      <a:pt x="6" y="7"/>
                    </a:cubicBezTo>
                    <a:cubicBezTo>
                      <a:pt x="4" y="7"/>
                      <a:pt x="1" y="3"/>
                      <a:pt x="0" y="3"/>
                    </a:cubicBezTo>
                    <a:cubicBezTo>
                      <a:pt x="3" y="2"/>
                      <a:pt x="5" y="0"/>
                      <a:pt x="7" y="0"/>
                    </a:cubicBezTo>
                    <a:cubicBezTo>
                      <a:pt x="7" y="1"/>
                      <a:pt x="9" y="3"/>
                      <a:pt x="9" y="5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3" name="Freeform 35"/>
              <p:cNvSpPr>
                <a:spLocks/>
              </p:cNvSpPr>
              <p:nvPr/>
            </p:nvSpPr>
            <p:spPr bwMode="auto">
              <a:xfrm>
                <a:off x="4551363" y="1833563"/>
                <a:ext cx="15875" cy="19050"/>
              </a:xfrm>
              <a:custGeom>
                <a:avLst/>
                <a:gdLst/>
                <a:ahLst/>
                <a:cxnLst>
                  <a:cxn ang="0">
                    <a:pos x="11" y="10"/>
                  </a:cxn>
                  <a:cxn ang="0">
                    <a:pos x="0" y="5"/>
                  </a:cxn>
                  <a:cxn ang="0">
                    <a:pos x="0" y="0"/>
                  </a:cxn>
                  <a:cxn ang="0">
                    <a:pos x="9" y="0"/>
                  </a:cxn>
                  <a:cxn ang="0">
                    <a:pos x="12" y="9"/>
                  </a:cxn>
                  <a:cxn ang="0">
                    <a:pos x="11" y="14"/>
                  </a:cxn>
                  <a:cxn ang="0">
                    <a:pos x="11" y="10"/>
                  </a:cxn>
                </a:cxnLst>
                <a:rect l="0" t="0" r="r" b="b"/>
                <a:pathLst>
                  <a:path w="12" h="14">
                    <a:moveTo>
                      <a:pt x="11" y="10"/>
                    </a:moveTo>
                    <a:cubicBezTo>
                      <a:pt x="5" y="10"/>
                      <a:pt x="0" y="9"/>
                      <a:pt x="0" y="5"/>
                    </a:cubicBezTo>
                    <a:cubicBezTo>
                      <a:pt x="0" y="3"/>
                      <a:pt x="0" y="2"/>
                      <a:pt x="0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6"/>
                      <a:pt x="12" y="5"/>
                      <a:pt x="12" y="9"/>
                    </a:cubicBezTo>
                    <a:cubicBezTo>
                      <a:pt x="12" y="13"/>
                      <a:pt x="11" y="12"/>
                      <a:pt x="11" y="14"/>
                    </a:cubicBezTo>
                    <a:cubicBezTo>
                      <a:pt x="11" y="13"/>
                      <a:pt x="11" y="12"/>
                      <a:pt x="11" y="10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4" name="Freeform 37"/>
              <p:cNvSpPr>
                <a:spLocks/>
              </p:cNvSpPr>
              <p:nvPr/>
            </p:nvSpPr>
            <p:spPr bwMode="auto">
              <a:xfrm>
                <a:off x="4684713" y="1773238"/>
                <a:ext cx="15875" cy="23813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1" y="17"/>
                  </a:cxn>
                  <a:cxn ang="0">
                    <a:pos x="1" y="11"/>
                  </a:cxn>
                  <a:cxn ang="0">
                    <a:pos x="11" y="0"/>
                  </a:cxn>
                  <a:cxn ang="0">
                    <a:pos x="8" y="6"/>
                  </a:cxn>
                </a:cxnLst>
                <a:rect l="0" t="0" r="r" b="b"/>
                <a:pathLst>
                  <a:path w="11" h="17">
                    <a:moveTo>
                      <a:pt x="8" y="6"/>
                    </a:moveTo>
                    <a:cubicBezTo>
                      <a:pt x="8" y="11"/>
                      <a:pt x="4" y="13"/>
                      <a:pt x="1" y="17"/>
                    </a:cubicBezTo>
                    <a:cubicBezTo>
                      <a:pt x="0" y="15"/>
                      <a:pt x="1" y="14"/>
                      <a:pt x="1" y="11"/>
                    </a:cubicBezTo>
                    <a:cubicBezTo>
                      <a:pt x="1" y="9"/>
                      <a:pt x="3" y="1"/>
                      <a:pt x="11" y="0"/>
                    </a:cubicBezTo>
                    <a:cubicBezTo>
                      <a:pt x="10" y="2"/>
                      <a:pt x="8" y="4"/>
                      <a:pt x="8" y="6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5" name="Freeform 38"/>
              <p:cNvSpPr>
                <a:spLocks/>
              </p:cNvSpPr>
              <p:nvPr/>
            </p:nvSpPr>
            <p:spPr bwMode="auto">
              <a:xfrm>
                <a:off x="4746625" y="1744663"/>
                <a:ext cx="20638" cy="26988"/>
              </a:xfrm>
              <a:custGeom>
                <a:avLst/>
                <a:gdLst/>
                <a:ahLst/>
                <a:cxnLst>
                  <a:cxn ang="0">
                    <a:pos x="12" y="10"/>
                  </a:cxn>
                  <a:cxn ang="0">
                    <a:pos x="12" y="16"/>
                  </a:cxn>
                  <a:cxn ang="0">
                    <a:pos x="5" y="20"/>
                  </a:cxn>
                  <a:cxn ang="0">
                    <a:pos x="0" y="13"/>
                  </a:cxn>
                  <a:cxn ang="0">
                    <a:pos x="10" y="10"/>
                  </a:cxn>
                  <a:cxn ang="0">
                    <a:pos x="7" y="5"/>
                  </a:cxn>
                  <a:cxn ang="0">
                    <a:pos x="11" y="0"/>
                  </a:cxn>
                  <a:cxn ang="0">
                    <a:pos x="16" y="5"/>
                  </a:cxn>
                  <a:cxn ang="0">
                    <a:pos x="12" y="10"/>
                  </a:cxn>
                </a:cxnLst>
                <a:rect l="0" t="0" r="r" b="b"/>
                <a:pathLst>
                  <a:path w="16" h="20">
                    <a:moveTo>
                      <a:pt x="12" y="10"/>
                    </a:moveTo>
                    <a:cubicBezTo>
                      <a:pt x="12" y="12"/>
                      <a:pt x="12" y="14"/>
                      <a:pt x="12" y="16"/>
                    </a:cubicBezTo>
                    <a:cubicBezTo>
                      <a:pt x="12" y="17"/>
                      <a:pt x="6" y="20"/>
                      <a:pt x="5" y="20"/>
                    </a:cubicBezTo>
                    <a:cubicBezTo>
                      <a:pt x="1" y="20"/>
                      <a:pt x="0" y="16"/>
                      <a:pt x="0" y="13"/>
                    </a:cubicBezTo>
                    <a:cubicBezTo>
                      <a:pt x="4" y="13"/>
                      <a:pt x="6" y="10"/>
                      <a:pt x="10" y="10"/>
                    </a:cubicBezTo>
                    <a:cubicBezTo>
                      <a:pt x="9" y="8"/>
                      <a:pt x="7" y="7"/>
                      <a:pt x="7" y="5"/>
                    </a:cubicBezTo>
                    <a:cubicBezTo>
                      <a:pt x="7" y="2"/>
                      <a:pt x="11" y="0"/>
                      <a:pt x="11" y="0"/>
                    </a:cubicBezTo>
                    <a:cubicBezTo>
                      <a:pt x="13" y="3"/>
                      <a:pt x="14" y="4"/>
                      <a:pt x="16" y="5"/>
                    </a:cubicBezTo>
                    <a:cubicBezTo>
                      <a:pt x="15" y="7"/>
                      <a:pt x="13" y="10"/>
                      <a:pt x="12" y="10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396" name="Group 363"/>
          <p:cNvGrpSpPr/>
          <p:nvPr/>
        </p:nvGrpSpPr>
        <p:grpSpPr>
          <a:xfrm>
            <a:off x="6755927" y="2467672"/>
            <a:ext cx="1052355" cy="1011231"/>
            <a:chOff x="6275388" y="2879725"/>
            <a:chExt cx="966788" cy="844551"/>
          </a:xfrm>
          <a:solidFill>
            <a:srgbClr val="273339">
              <a:lumMod val="50000"/>
              <a:lumOff val="50000"/>
            </a:srgbClr>
          </a:solidFill>
        </p:grpSpPr>
        <p:sp>
          <p:nvSpPr>
            <p:cNvPr id="1397" name="Freeform 9"/>
            <p:cNvSpPr>
              <a:spLocks/>
            </p:cNvSpPr>
            <p:nvPr/>
          </p:nvSpPr>
          <p:spPr bwMode="auto">
            <a:xfrm>
              <a:off x="6567488" y="2879725"/>
              <a:ext cx="339725" cy="176213"/>
            </a:xfrm>
            <a:custGeom>
              <a:avLst/>
              <a:gdLst/>
              <a:ahLst/>
              <a:cxnLst>
                <a:cxn ang="0">
                  <a:pos x="128" y="28"/>
                </a:cxn>
                <a:cxn ang="0">
                  <a:pos x="160" y="39"/>
                </a:cxn>
                <a:cxn ang="0">
                  <a:pos x="173" y="45"/>
                </a:cxn>
                <a:cxn ang="0">
                  <a:pos x="179" y="49"/>
                </a:cxn>
                <a:cxn ang="0">
                  <a:pos x="203" y="71"/>
                </a:cxn>
                <a:cxn ang="0">
                  <a:pos x="217" y="78"/>
                </a:cxn>
                <a:cxn ang="0">
                  <a:pos x="208" y="85"/>
                </a:cxn>
                <a:cxn ang="0">
                  <a:pos x="217" y="96"/>
                </a:cxn>
                <a:cxn ang="0">
                  <a:pos x="224" y="108"/>
                </a:cxn>
                <a:cxn ang="0">
                  <a:pos x="233" y="113"/>
                </a:cxn>
                <a:cxn ang="0">
                  <a:pos x="237" y="118"/>
                </a:cxn>
                <a:cxn ang="0">
                  <a:pos x="242" y="119"/>
                </a:cxn>
                <a:cxn ang="0">
                  <a:pos x="247" y="124"/>
                </a:cxn>
                <a:cxn ang="0">
                  <a:pos x="255" y="126"/>
                </a:cxn>
                <a:cxn ang="0">
                  <a:pos x="250" y="133"/>
                </a:cxn>
                <a:cxn ang="0">
                  <a:pos x="247" y="133"/>
                </a:cxn>
                <a:cxn ang="0">
                  <a:pos x="239" y="127"/>
                </a:cxn>
                <a:cxn ang="0">
                  <a:pos x="227" y="127"/>
                </a:cxn>
                <a:cxn ang="0">
                  <a:pos x="210" y="116"/>
                </a:cxn>
                <a:cxn ang="0">
                  <a:pos x="206" y="113"/>
                </a:cxn>
                <a:cxn ang="0">
                  <a:pos x="175" y="92"/>
                </a:cxn>
                <a:cxn ang="0">
                  <a:pos x="158" y="103"/>
                </a:cxn>
                <a:cxn ang="0">
                  <a:pos x="156" y="113"/>
                </a:cxn>
                <a:cxn ang="0">
                  <a:pos x="139" y="113"/>
                </a:cxn>
                <a:cxn ang="0">
                  <a:pos x="113" y="100"/>
                </a:cxn>
                <a:cxn ang="0">
                  <a:pos x="107" y="102"/>
                </a:cxn>
                <a:cxn ang="0">
                  <a:pos x="98" y="102"/>
                </a:cxn>
                <a:cxn ang="0">
                  <a:pos x="90" y="99"/>
                </a:cxn>
                <a:cxn ang="0">
                  <a:pos x="101" y="90"/>
                </a:cxn>
                <a:cxn ang="0">
                  <a:pos x="96" y="71"/>
                </a:cxn>
                <a:cxn ang="0">
                  <a:pos x="77" y="59"/>
                </a:cxn>
                <a:cxn ang="0">
                  <a:pos x="53" y="54"/>
                </a:cxn>
                <a:cxn ang="0">
                  <a:pos x="37" y="45"/>
                </a:cxn>
                <a:cxn ang="0">
                  <a:pos x="37" y="41"/>
                </a:cxn>
                <a:cxn ang="0">
                  <a:pos x="30" y="49"/>
                </a:cxn>
                <a:cxn ang="0">
                  <a:pos x="26" y="48"/>
                </a:cxn>
                <a:cxn ang="0">
                  <a:pos x="24" y="38"/>
                </a:cxn>
                <a:cxn ang="0">
                  <a:pos x="16" y="33"/>
                </a:cxn>
                <a:cxn ang="0">
                  <a:pos x="38" y="25"/>
                </a:cxn>
                <a:cxn ang="0">
                  <a:pos x="35" y="25"/>
                </a:cxn>
                <a:cxn ang="0">
                  <a:pos x="23" y="27"/>
                </a:cxn>
                <a:cxn ang="0">
                  <a:pos x="16" y="26"/>
                </a:cxn>
                <a:cxn ang="0">
                  <a:pos x="14" y="22"/>
                </a:cxn>
                <a:cxn ang="0">
                  <a:pos x="0" y="12"/>
                </a:cxn>
                <a:cxn ang="0">
                  <a:pos x="6" y="8"/>
                </a:cxn>
                <a:cxn ang="0">
                  <a:pos x="23" y="0"/>
                </a:cxn>
                <a:cxn ang="0">
                  <a:pos x="44" y="9"/>
                </a:cxn>
                <a:cxn ang="0">
                  <a:pos x="44" y="25"/>
                </a:cxn>
                <a:cxn ang="0">
                  <a:pos x="50" y="29"/>
                </a:cxn>
                <a:cxn ang="0">
                  <a:pos x="59" y="38"/>
                </a:cxn>
                <a:cxn ang="0">
                  <a:pos x="67" y="30"/>
                </a:cxn>
                <a:cxn ang="0">
                  <a:pos x="78" y="25"/>
                </a:cxn>
                <a:cxn ang="0">
                  <a:pos x="92" y="14"/>
                </a:cxn>
                <a:cxn ang="0">
                  <a:pos x="98" y="17"/>
                </a:cxn>
                <a:cxn ang="0">
                  <a:pos x="109" y="25"/>
                </a:cxn>
                <a:cxn ang="0">
                  <a:pos x="121" y="25"/>
                </a:cxn>
                <a:cxn ang="0">
                  <a:pos x="130" y="29"/>
                </a:cxn>
                <a:cxn ang="0">
                  <a:pos x="130" y="30"/>
                </a:cxn>
                <a:cxn ang="0">
                  <a:pos x="128" y="28"/>
                </a:cxn>
              </a:cxnLst>
              <a:rect l="0" t="0" r="r" b="b"/>
              <a:pathLst>
                <a:path w="255" h="133">
                  <a:moveTo>
                    <a:pt x="128" y="28"/>
                  </a:moveTo>
                  <a:cubicBezTo>
                    <a:pt x="133" y="33"/>
                    <a:pt x="149" y="39"/>
                    <a:pt x="160" y="39"/>
                  </a:cubicBezTo>
                  <a:cubicBezTo>
                    <a:pt x="165" y="39"/>
                    <a:pt x="168" y="45"/>
                    <a:pt x="173" y="45"/>
                  </a:cubicBezTo>
                  <a:cubicBezTo>
                    <a:pt x="173" y="48"/>
                    <a:pt x="176" y="49"/>
                    <a:pt x="179" y="49"/>
                  </a:cubicBezTo>
                  <a:cubicBezTo>
                    <a:pt x="193" y="54"/>
                    <a:pt x="192" y="66"/>
                    <a:pt x="203" y="71"/>
                  </a:cubicBezTo>
                  <a:cubicBezTo>
                    <a:pt x="207" y="73"/>
                    <a:pt x="217" y="68"/>
                    <a:pt x="217" y="78"/>
                  </a:cubicBezTo>
                  <a:cubicBezTo>
                    <a:pt x="217" y="83"/>
                    <a:pt x="208" y="81"/>
                    <a:pt x="208" y="85"/>
                  </a:cubicBezTo>
                  <a:cubicBezTo>
                    <a:pt x="208" y="87"/>
                    <a:pt x="216" y="95"/>
                    <a:pt x="217" y="96"/>
                  </a:cubicBezTo>
                  <a:cubicBezTo>
                    <a:pt x="221" y="100"/>
                    <a:pt x="220" y="103"/>
                    <a:pt x="224" y="108"/>
                  </a:cubicBezTo>
                  <a:cubicBezTo>
                    <a:pt x="225" y="111"/>
                    <a:pt x="230" y="113"/>
                    <a:pt x="233" y="113"/>
                  </a:cubicBezTo>
                  <a:cubicBezTo>
                    <a:pt x="235" y="113"/>
                    <a:pt x="236" y="116"/>
                    <a:pt x="237" y="118"/>
                  </a:cubicBezTo>
                  <a:cubicBezTo>
                    <a:pt x="238" y="120"/>
                    <a:pt x="240" y="118"/>
                    <a:pt x="242" y="119"/>
                  </a:cubicBezTo>
                  <a:cubicBezTo>
                    <a:pt x="245" y="119"/>
                    <a:pt x="246" y="122"/>
                    <a:pt x="247" y="124"/>
                  </a:cubicBezTo>
                  <a:cubicBezTo>
                    <a:pt x="247" y="126"/>
                    <a:pt x="254" y="125"/>
                    <a:pt x="255" y="126"/>
                  </a:cubicBezTo>
                  <a:cubicBezTo>
                    <a:pt x="253" y="127"/>
                    <a:pt x="250" y="130"/>
                    <a:pt x="250" y="133"/>
                  </a:cubicBezTo>
                  <a:cubicBezTo>
                    <a:pt x="249" y="133"/>
                    <a:pt x="248" y="133"/>
                    <a:pt x="247" y="133"/>
                  </a:cubicBezTo>
                  <a:cubicBezTo>
                    <a:pt x="246" y="133"/>
                    <a:pt x="240" y="128"/>
                    <a:pt x="239" y="127"/>
                  </a:cubicBezTo>
                  <a:cubicBezTo>
                    <a:pt x="227" y="127"/>
                    <a:pt x="227" y="127"/>
                    <a:pt x="227" y="127"/>
                  </a:cubicBezTo>
                  <a:cubicBezTo>
                    <a:pt x="221" y="126"/>
                    <a:pt x="210" y="121"/>
                    <a:pt x="210" y="116"/>
                  </a:cubicBezTo>
                  <a:cubicBezTo>
                    <a:pt x="210" y="115"/>
                    <a:pt x="207" y="114"/>
                    <a:pt x="206" y="113"/>
                  </a:cubicBezTo>
                  <a:cubicBezTo>
                    <a:pt x="197" y="104"/>
                    <a:pt x="189" y="92"/>
                    <a:pt x="175" y="92"/>
                  </a:cubicBezTo>
                  <a:cubicBezTo>
                    <a:pt x="164" y="92"/>
                    <a:pt x="165" y="100"/>
                    <a:pt x="158" y="103"/>
                  </a:cubicBezTo>
                  <a:cubicBezTo>
                    <a:pt x="160" y="108"/>
                    <a:pt x="156" y="110"/>
                    <a:pt x="156" y="113"/>
                  </a:cubicBezTo>
                  <a:cubicBezTo>
                    <a:pt x="146" y="113"/>
                    <a:pt x="144" y="113"/>
                    <a:pt x="139" y="113"/>
                  </a:cubicBezTo>
                  <a:cubicBezTo>
                    <a:pt x="128" y="113"/>
                    <a:pt x="125" y="100"/>
                    <a:pt x="113" y="100"/>
                  </a:cubicBezTo>
                  <a:cubicBezTo>
                    <a:pt x="112" y="100"/>
                    <a:pt x="107" y="100"/>
                    <a:pt x="107" y="102"/>
                  </a:cubicBezTo>
                  <a:cubicBezTo>
                    <a:pt x="98" y="102"/>
                    <a:pt x="98" y="102"/>
                    <a:pt x="98" y="102"/>
                  </a:cubicBezTo>
                  <a:cubicBezTo>
                    <a:pt x="94" y="102"/>
                    <a:pt x="90" y="102"/>
                    <a:pt x="90" y="99"/>
                  </a:cubicBezTo>
                  <a:cubicBezTo>
                    <a:pt x="90" y="93"/>
                    <a:pt x="99" y="91"/>
                    <a:pt x="101" y="90"/>
                  </a:cubicBezTo>
                  <a:cubicBezTo>
                    <a:pt x="95" y="84"/>
                    <a:pt x="98" y="78"/>
                    <a:pt x="96" y="71"/>
                  </a:cubicBezTo>
                  <a:cubicBezTo>
                    <a:pt x="94" y="66"/>
                    <a:pt x="82" y="61"/>
                    <a:pt x="77" y="59"/>
                  </a:cubicBezTo>
                  <a:cubicBezTo>
                    <a:pt x="72" y="56"/>
                    <a:pt x="60" y="54"/>
                    <a:pt x="53" y="54"/>
                  </a:cubicBezTo>
                  <a:cubicBezTo>
                    <a:pt x="47" y="54"/>
                    <a:pt x="44" y="43"/>
                    <a:pt x="37" y="45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36" y="44"/>
                    <a:pt x="34" y="49"/>
                    <a:pt x="30" y="49"/>
                  </a:cubicBezTo>
                  <a:cubicBezTo>
                    <a:pt x="29" y="49"/>
                    <a:pt x="26" y="49"/>
                    <a:pt x="26" y="48"/>
                  </a:cubicBezTo>
                  <a:cubicBezTo>
                    <a:pt x="24" y="43"/>
                    <a:pt x="26" y="41"/>
                    <a:pt x="24" y="38"/>
                  </a:cubicBezTo>
                  <a:cubicBezTo>
                    <a:pt x="22" y="34"/>
                    <a:pt x="17" y="36"/>
                    <a:pt x="16" y="33"/>
                  </a:cubicBezTo>
                  <a:cubicBezTo>
                    <a:pt x="22" y="29"/>
                    <a:pt x="35" y="30"/>
                    <a:pt x="38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0" y="26"/>
                    <a:pt x="27" y="27"/>
                    <a:pt x="23" y="27"/>
                  </a:cubicBezTo>
                  <a:cubicBezTo>
                    <a:pt x="20" y="27"/>
                    <a:pt x="19" y="26"/>
                    <a:pt x="16" y="26"/>
                  </a:cubicBezTo>
                  <a:cubicBezTo>
                    <a:pt x="15" y="25"/>
                    <a:pt x="14" y="23"/>
                    <a:pt x="14" y="22"/>
                  </a:cubicBezTo>
                  <a:cubicBezTo>
                    <a:pt x="11" y="15"/>
                    <a:pt x="0" y="18"/>
                    <a:pt x="0" y="12"/>
                  </a:cubicBezTo>
                  <a:cubicBezTo>
                    <a:pt x="0" y="9"/>
                    <a:pt x="4" y="8"/>
                    <a:pt x="6" y="8"/>
                  </a:cubicBezTo>
                  <a:cubicBezTo>
                    <a:pt x="12" y="8"/>
                    <a:pt x="15" y="0"/>
                    <a:pt x="23" y="0"/>
                  </a:cubicBezTo>
                  <a:cubicBezTo>
                    <a:pt x="30" y="0"/>
                    <a:pt x="36" y="7"/>
                    <a:pt x="44" y="9"/>
                  </a:cubicBezTo>
                  <a:cubicBezTo>
                    <a:pt x="44" y="15"/>
                    <a:pt x="44" y="22"/>
                    <a:pt x="44" y="25"/>
                  </a:cubicBezTo>
                  <a:cubicBezTo>
                    <a:pt x="44" y="27"/>
                    <a:pt x="46" y="29"/>
                    <a:pt x="50" y="29"/>
                  </a:cubicBezTo>
                  <a:cubicBezTo>
                    <a:pt x="50" y="31"/>
                    <a:pt x="56" y="38"/>
                    <a:pt x="59" y="38"/>
                  </a:cubicBezTo>
                  <a:cubicBezTo>
                    <a:pt x="62" y="38"/>
                    <a:pt x="66" y="31"/>
                    <a:pt x="67" y="30"/>
                  </a:cubicBezTo>
                  <a:cubicBezTo>
                    <a:pt x="71" y="27"/>
                    <a:pt x="71" y="26"/>
                    <a:pt x="78" y="25"/>
                  </a:cubicBezTo>
                  <a:cubicBezTo>
                    <a:pt x="82" y="23"/>
                    <a:pt x="87" y="15"/>
                    <a:pt x="92" y="14"/>
                  </a:cubicBezTo>
                  <a:cubicBezTo>
                    <a:pt x="93" y="17"/>
                    <a:pt x="96" y="16"/>
                    <a:pt x="98" y="17"/>
                  </a:cubicBezTo>
                  <a:cubicBezTo>
                    <a:pt x="103" y="18"/>
                    <a:pt x="106" y="24"/>
                    <a:pt x="109" y="25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3" y="27"/>
                    <a:pt x="128" y="29"/>
                    <a:pt x="130" y="29"/>
                  </a:cubicBezTo>
                  <a:cubicBezTo>
                    <a:pt x="130" y="30"/>
                    <a:pt x="130" y="30"/>
                    <a:pt x="130" y="30"/>
                  </a:cubicBezTo>
                  <a:lnTo>
                    <a:pt x="128" y="28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398" name="Group 361"/>
            <p:cNvGrpSpPr/>
            <p:nvPr/>
          </p:nvGrpSpPr>
          <p:grpSpPr>
            <a:xfrm>
              <a:off x="6275388" y="2917825"/>
              <a:ext cx="966788" cy="806451"/>
              <a:chOff x="6275388" y="2917825"/>
              <a:chExt cx="966788" cy="806451"/>
            </a:xfrm>
            <a:grpFill/>
          </p:grpSpPr>
          <p:sp>
            <p:nvSpPr>
              <p:cNvPr id="1399" name="Freeform 7"/>
              <p:cNvSpPr>
                <a:spLocks/>
              </p:cNvSpPr>
              <p:nvPr/>
            </p:nvSpPr>
            <p:spPr bwMode="auto">
              <a:xfrm>
                <a:off x="6623050" y="2968625"/>
                <a:ext cx="11113" cy="25400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8" y="5"/>
                  </a:cxn>
                  <a:cxn ang="0">
                    <a:pos x="5" y="9"/>
                  </a:cxn>
                  <a:cxn ang="0">
                    <a:pos x="2" y="19"/>
                  </a:cxn>
                  <a:cxn ang="0">
                    <a:pos x="0" y="15"/>
                  </a:cxn>
                  <a:cxn ang="0">
                    <a:pos x="4" y="8"/>
                  </a:cxn>
                  <a:cxn ang="0">
                    <a:pos x="7" y="0"/>
                  </a:cxn>
                </a:cxnLst>
                <a:rect l="0" t="0" r="r" b="b"/>
                <a:pathLst>
                  <a:path w="8" h="19">
                    <a:moveTo>
                      <a:pt x="7" y="0"/>
                    </a:moveTo>
                    <a:cubicBezTo>
                      <a:pt x="7" y="4"/>
                      <a:pt x="8" y="2"/>
                      <a:pt x="8" y="5"/>
                    </a:cubicBezTo>
                    <a:cubicBezTo>
                      <a:pt x="8" y="8"/>
                      <a:pt x="7" y="9"/>
                      <a:pt x="5" y="9"/>
                    </a:cubicBezTo>
                    <a:cubicBezTo>
                      <a:pt x="5" y="14"/>
                      <a:pt x="6" y="19"/>
                      <a:pt x="2" y="19"/>
                    </a:cubicBezTo>
                    <a:cubicBezTo>
                      <a:pt x="1" y="19"/>
                      <a:pt x="0" y="16"/>
                      <a:pt x="0" y="15"/>
                    </a:cubicBezTo>
                    <a:cubicBezTo>
                      <a:pt x="0" y="11"/>
                      <a:pt x="4" y="10"/>
                      <a:pt x="4" y="8"/>
                    </a:cubicBezTo>
                    <a:cubicBezTo>
                      <a:pt x="4" y="4"/>
                      <a:pt x="3" y="0"/>
                      <a:pt x="7" y="0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0" name="Freeform 8"/>
              <p:cNvSpPr>
                <a:spLocks/>
              </p:cNvSpPr>
              <p:nvPr/>
            </p:nvSpPr>
            <p:spPr bwMode="auto">
              <a:xfrm>
                <a:off x="6867525" y="2944813"/>
                <a:ext cx="65088" cy="38100"/>
              </a:xfrm>
              <a:custGeom>
                <a:avLst/>
                <a:gdLst/>
                <a:ahLst/>
                <a:cxnLst>
                  <a:cxn ang="0">
                    <a:pos x="13" y="27"/>
                  </a:cxn>
                  <a:cxn ang="0">
                    <a:pos x="0" y="18"/>
                  </a:cxn>
                  <a:cxn ang="0">
                    <a:pos x="13" y="18"/>
                  </a:cxn>
                  <a:cxn ang="0">
                    <a:pos x="18" y="17"/>
                  </a:cxn>
                  <a:cxn ang="0">
                    <a:pos x="35" y="13"/>
                  </a:cxn>
                  <a:cxn ang="0">
                    <a:pos x="45" y="0"/>
                  </a:cxn>
                  <a:cxn ang="0">
                    <a:pos x="49" y="7"/>
                  </a:cxn>
                  <a:cxn ang="0">
                    <a:pos x="40" y="22"/>
                  </a:cxn>
                  <a:cxn ang="0">
                    <a:pos x="19" y="29"/>
                  </a:cxn>
                  <a:cxn ang="0">
                    <a:pos x="11" y="25"/>
                  </a:cxn>
                  <a:cxn ang="0">
                    <a:pos x="13" y="27"/>
                  </a:cxn>
                </a:cxnLst>
                <a:rect l="0" t="0" r="r" b="b"/>
                <a:pathLst>
                  <a:path w="49" h="29">
                    <a:moveTo>
                      <a:pt x="13" y="27"/>
                    </a:moveTo>
                    <a:cubicBezTo>
                      <a:pt x="9" y="22"/>
                      <a:pt x="1" y="24"/>
                      <a:pt x="0" y="18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18"/>
                      <a:pt x="18" y="17"/>
                      <a:pt x="18" y="17"/>
                    </a:cubicBezTo>
                    <a:cubicBezTo>
                      <a:pt x="25" y="14"/>
                      <a:pt x="31" y="15"/>
                      <a:pt x="35" y="13"/>
                    </a:cubicBezTo>
                    <a:cubicBezTo>
                      <a:pt x="41" y="10"/>
                      <a:pt x="39" y="0"/>
                      <a:pt x="45" y="0"/>
                    </a:cubicBezTo>
                    <a:cubicBezTo>
                      <a:pt x="48" y="0"/>
                      <a:pt x="49" y="4"/>
                      <a:pt x="49" y="7"/>
                    </a:cubicBezTo>
                    <a:cubicBezTo>
                      <a:pt x="49" y="16"/>
                      <a:pt x="40" y="14"/>
                      <a:pt x="40" y="22"/>
                    </a:cubicBezTo>
                    <a:cubicBezTo>
                      <a:pt x="32" y="24"/>
                      <a:pt x="28" y="29"/>
                      <a:pt x="19" y="29"/>
                    </a:cubicBezTo>
                    <a:cubicBezTo>
                      <a:pt x="17" y="29"/>
                      <a:pt x="11" y="26"/>
                      <a:pt x="11" y="25"/>
                    </a:cubicBezTo>
                    <a:lnTo>
                      <a:pt x="13" y="27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1" name="Freeform 10"/>
              <p:cNvSpPr>
                <a:spLocks/>
              </p:cNvSpPr>
              <p:nvPr/>
            </p:nvSpPr>
            <p:spPr bwMode="auto">
              <a:xfrm>
                <a:off x="6911975" y="2917825"/>
                <a:ext cx="34925" cy="34925"/>
              </a:xfrm>
              <a:custGeom>
                <a:avLst/>
                <a:gdLst/>
                <a:ahLst/>
                <a:cxnLst>
                  <a:cxn ang="0">
                    <a:pos x="23" y="25"/>
                  </a:cxn>
                  <a:cxn ang="0">
                    <a:pos x="19" y="17"/>
                  </a:cxn>
                  <a:cxn ang="0">
                    <a:pos x="8" y="6"/>
                  </a:cxn>
                  <a:cxn ang="0">
                    <a:pos x="0" y="0"/>
                  </a:cxn>
                  <a:cxn ang="0">
                    <a:pos x="18" y="13"/>
                  </a:cxn>
                  <a:cxn ang="0">
                    <a:pos x="26" y="22"/>
                  </a:cxn>
                  <a:cxn ang="0">
                    <a:pos x="26" y="25"/>
                  </a:cxn>
                  <a:cxn ang="0">
                    <a:pos x="23" y="25"/>
                  </a:cxn>
                </a:cxnLst>
                <a:rect l="0" t="0" r="r" b="b"/>
                <a:pathLst>
                  <a:path w="26" h="26">
                    <a:moveTo>
                      <a:pt x="23" y="25"/>
                    </a:moveTo>
                    <a:cubicBezTo>
                      <a:pt x="18" y="24"/>
                      <a:pt x="18" y="21"/>
                      <a:pt x="19" y="17"/>
                    </a:cubicBezTo>
                    <a:cubicBezTo>
                      <a:pt x="13" y="14"/>
                      <a:pt x="14" y="9"/>
                      <a:pt x="8" y="6"/>
                    </a:cubicBezTo>
                    <a:cubicBezTo>
                      <a:pt x="5" y="4"/>
                      <a:pt x="2" y="4"/>
                      <a:pt x="0" y="0"/>
                    </a:cubicBezTo>
                    <a:cubicBezTo>
                      <a:pt x="9" y="3"/>
                      <a:pt x="13" y="8"/>
                      <a:pt x="18" y="13"/>
                    </a:cubicBezTo>
                    <a:cubicBezTo>
                      <a:pt x="21" y="17"/>
                      <a:pt x="26" y="16"/>
                      <a:pt x="26" y="22"/>
                    </a:cubicBezTo>
                    <a:cubicBezTo>
                      <a:pt x="26" y="23"/>
                      <a:pt x="26" y="24"/>
                      <a:pt x="26" y="25"/>
                    </a:cubicBezTo>
                    <a:cubicBezTo>
                      <a:pt x="25" y="25"/>
                      <a:pt x="24" y="26"/>
                      <a:pt x="23" y="25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2" name="Freeform 11"/>
              <p:cNvSpPr>
                <a:spLocks/>
              </p:cNvSpPr>
              <p:nvPr/>
            </p:nvSpPr>
            <p:spPr bwMode="auto">
              <a:xfrm>
                <a:off x="6972300" y="2967038"/>
                <a:ext cx="17463" cy="20638"/>
              </a:xfrm>
              <a:custGeom>
                <a:avLst/>
                <a:gdLst/>
                <a:ahLst/>
                <a:cxnLst>
                  <a:cxn ang="0">
                    <a:pos x="7" y="9"/>
                  </a:cxn>
                  <a:cxn ang="0">
                    <a:pos x="1" y="0"/>
                  </a:cxn>
                  <a:cxn ang="0">
                    <a:pos x="13" y="12"/>
                  </a:cxn>
                  <a:cxn ang="0">
                    <a:pos x="10" y="16"/>
                  </a:cxn>
                  <a:cxn ang="0">
                    <a:pos x="7" y="13"/>
                  </a:cxn>
                  <a:cxn ang="0">
                    <a:pos x="7" y="9"/>
                  </a:cxn>
                </a:cxnLst>
                <a:rect l="0" t="0" r="r" b="b"/>
                <a:pathLst>
                  <a:path w="13" h="16">
                    <a:moveTo>
                      <a:pt x="7" y="9"/>
                    </a:moveTo>
                    <a:cubicBezTo>
                      <a:pt x="2" y="9"/>
                      <a:pt x="0" y="4"/>
                      <a:pt x="1" y="0"/>
                    </a:cubicBezTo>
                    <a:cubicBezTo>
                      <a:pt x="4" y="1"/>
                      <a:pt x="13" y="11"/>
                      <a:pt x="13" y="12"/>
                    </a:cubicBezTo>
                    <a:cubicBezTo>
                      <a:pt x="13" y="14"/>
                      <a:pt x="11" y="16"/>
                      <a:pt x="10" y="16"/>
                    </a:cubicBezTo>
                    <a:cubicBezTo>
                      <a:pt x="9" y="16"/>
                      <a:pt x="7" y="14"/>
                      <a:pt x="7" y="13"/>
                    </a:cubicBezTo>
                    <a:cubicBezTo>
                      <a:pt x="7" y="12"/>
                      <a:pt x="7" y="11"/>
                      <a:pt x="7" y="9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3" name="Freeform 12"/>
              <p:cNvSpPr>
                <a:spLocks/>
              </p:cNvSpPr>
              <p:nvPr/>
            </p:nvSpPr>
            <p:spPr bwMode="auto">
              <a:xfrm>
                <a:off x="7086600" y="3046413"/>
                <a:ext cx="9525" cy="11113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9"/>
                  </a:cxn>
                  <a:cxn ang="0">
                    <a:pos x="0" y="0"/>
                  </a:cxn>
                  <a:cxn ang="0">
                    <a:pos x="7" y="6"/>
                  </a:cxn>
                </a:cxnLst>
                <a:rect l="0" t="0" r="r" b="b"/>
                <a:pathLst>
                  <a:path w="7" h="9">
                    <a:moveTo>
                      <a:pt x="7" y="6"/>
                    </a:moveTo>
                    <a:cubicBezTo>
                      <a:pt x="7" y="7"/>
                      <a:pt x="7" y="8"/>
                      <a:pt x="7" y="9"/>
                    </a:cubicBezTo>
                    <a:cubicBezTo>
                      <a:pt x="3" y="9"/>
                      <a:pt x="0" y="2"/>
                      <a:pt x="0" y="0"/>
                    </a:cubicBezTo>
                    <a:cubicBezTo>
                      <a:pt x="4" y="2"/>
                      <a:pt x="7" y="3"/>
                      <a:pt x="7" y="6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4" name="Freeform 13"/>
              <p:cNvSpPr>
                <a:spLocks/>
              </p:cNvSpPr>
              <p:nvPr/>
            </p:nvSpPr>
            <p:spPr bwMode="auto">
              <a:xfrm>
                <a:off x="7061200" y="3036888"/>
                <a:ext cx="20638" cy="9525"/>
              </a:xfrm>
              <a:custGeom>
                <a:avLst/>
                <a:gdLst/>
                <a:ahLst/>
                <a:cxnLst>
                  <a:cxn ang="0">
                    <a:pos x="15" y="6"/>
                  </a:cxn>
                  <a:cxn ang="0">
                    <a:pos x="12" y="7"/>
                  </a:cxn>
                  <a:cxn ang="0">
                    <a:pos x="0" y="0"/>
                  </a:cxn>
                  <a:cxn ang="0">
                    <a:pos x="15" y="6"/>
                  </a:cxn>
                </a:cxnLst>
                <a:rect l="0" t="0" r="r" b="b"/>
                <a:pathLst>
                  <a:path w="15" h="7">
                    <a:moveTo>
                      <a:pt x="15" y="6"/>
                    </a:moveTo>
                    <a:cubicBezTo>
                      <a:pt x="14" y="6"/>
                      <a:pt x="13" y="7"/>
                      <a:pt x="12" y="7"/>
                    </a:cubicBezTo>
                    <a:cubicBezTo>
                      <a:pt x="7" y="7"/>
                      <a:pt x="0" y="5"/>
                      <a:pt x="0" y="0"/>
                    </a:cubicBezTo>
                    <a:cubicBezTo>
                      <a:pt x="7" y="0"/>
                      <a:pt x="11" y="1"/>
                      <a:pt x="15" y="6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5" name="Freeform 14"/>
              <p:cNvSpPr>
                <a:spLocks/>
              </p:cNvSpPr>
              <p:nvPr/>
            </p:nvSpPr>
            <p:spPr bwMode="auto">
              <a:xfrm>
                <a:off x="7064375" y="3013075"/>
                <a:ext cx="17463" cy="19050"/>
              </a:xfrm>
              <a:custGeom>
                <a:avLst/>
                <a:gdLst/>
                <a:ahLst/>
                <a:cxnLst>
                  <a:cxn ang="0">
                    <a:pos x="13" y="14"/>
                  </a:cxn>
                  <a:cxn ang="0">
                    <a:pos x="0" y="0"/>
                  </a:cxn>
                  <a:cxn ang="0">
                    <a:pos x="13" y="14"/>
                  </a:cxn>
                </a:cxnLst>
                <a:rect l="0" t="0" r="r" b="b"/>
                <a:pathLst>
                  <a:path w="13" h="14">
                    <a:moveTo>
                      <a:pt x="13" y="14"/>
                    </a:moveTo>
                    <a:cubicBezTo>
                      <a:pt x="9" y="14"/>
                      <a:pt x="1" y="3"/>
                      <a:pt x="0" y="0"/>
                    </a:cubicBezTo>
                    <a:cubicBezTo>
                      <a:pt x="6" y="3"/>
                      <a:pt x="11" y="7"/>
                      <a:pt x="13" y="14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6" name="Freeform 15"/>
              <p:cNvSpPr>
                <a:spLocks/>
              </p:cNvSpPr>
              <p:nvPr/>
            </p:nvSpPr>
            <p:spPr bwMode="auto">
              <a:xfrm>
                <a:off x="7027863" y="2998788"/>
                <a:ext cx="23813" cy="1428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7" y="9"/>
                  </a:cxn>
                  <a:cxn ang="0">
                    <a:pos x="14" y="1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</a:cxnLst>
                <a:rect l="0" t="0" r="r" b="b"/>
                <a:pathLst>
                  <a:path w="17" h="10">
                    <a:moveTo>
                      <a:pt x="2" y="0"/>
                    </a:moveTo>
                    <a:cubicBezTo>
                      <a:pt x="6" y="2"/>
                      <a:pt x="15" y="5"/>
                      <a:pt x="17" y="9"/>
                    </a:cubicBezTo>
                    <a:cubicBezTo>
                      <a:pt x="17" y="9"/>
                      <a:pt x="15" y="10"/>
                      <a:pt x="14" y="10"/>
                    </a:cubicBezTo>
                    <a:cubicBezTo>
                      <a:pt x="10" y="10"/>
                      <a:pt x="0" y="6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7" name="Freeform 16"/>
              <p:cNvSpPr>
                <a:spLocks/>
              </p:cNvSpPr>
              <p:nvPr/>
            </p:nvSpPr>
            <p:spPr bwMode="auto">
              <a:xfrm>
                <a:off x="7002463" y="2984500"/>
                <a:ext cx="14288" cy="79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" y="6"/>
                  </a:cxn>
                  <a:cxn ang="0">
                    <a:pos x="7" y="6"/>
                  </a:cxn>
                  <a:cxn ang="0">
                    <a:pos x="0" y="2"/>
                  </a:cxn>
                  <a:cxn ang="0">
                    <a:pos x="3" y="1"/>
                  </a:cxn>
                  <a:cxn ang="0">
                    <a:pos x="0" y="0"/>
                  </a:cxn>
                </a:cxnLst>
                <a:rect l="0" t="0" r="r" b="b"/>
                <a:pathLst>
                  <a:path w="11" h="6">
                    <a:moveTo>
                      <a:pt x="0" y="0"/>
                    </a:moveTo>
                    <a:cubicBezTo>
                      <a:pt x="5" y="3"/>
                      <a:pt x="8" y="2"/>
                      <a:pt x="11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3" y="2"/>
                      <a:pt x="3" y="1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8" name="Freeform 17"/>
              <p:cNvSpPr>
                <a:spLocks/>
              </p:cNvSpPr>
              <p:nvPr/>
            </p:nvSpPr>
            <p:spPr bwMode="auto">
              <a:xfrm>
                <a:off x="6800850" y="3594100"/>
                <a:ext cx="63500" cy="65088"/>
              </a:xfrm>
              <a:custGeom>
                <a:avLst/>
                <a:gdLst/>
                <a:ahLst/>
                <a:cxnLst>
                  <a:cxn ang="0">
                    <a:pos x="24" y="7"/>
                  </a:cxn>
                  <a:cxn ang="0">
                    <a:pos x="43" y="3"/>
                  </a:cxn>
                  <a:cxn ang="0">
                    <a:pos x="48" y="16"/>
                  </a:cxn>
                  <a:cxn ang="0">
                    <a:pos x="27" y="49"/>
                  </a:cxn>
                  <a:cxn ang="0">
                    <a:pos x="0" y="7"/>
                  </a:cxn>
                  <a:cxn ang="0">
                    <a:pos x="24" y="7"/>
                  </a:cxn>
                </a:cxnLst>
                <a:rect l="0" t="0" r="r" b="b"/>
                <a:pathLst>
                  <a:path w="48" h="49">
                    <a:moveTo>
                      <a:pt x="24" y="7"/>
                    </a:moveTo>
                    <a:cubicBezTo>
                      <a:pt x="30" y="7"/>
                      <a:pt x="37" y="5"/>
                      <a:pt x="43" y="3"/>
                    </a:cubicBezTo>
                    <a:cubicBezTo>
                      <a:pt x="45" y="8"/>
                      <a:pt x="48" y="11"/>
                      <a:pt x="48" y="16"/>
                    </a:cubicBezTo>
                    <a:cubicBezTo>
                      <a:pt x="48" y="26"/>
                      <a:pt x="36" y="49"/>
                      <a:pt x="27" y="49"/>
                    </a:cubicBezTo>
                    <a:cubicBezTo>
                      <a:pt x="14" y="49"/>
                      <a:pt x="0" y="16"/>
                      <a:pt x="0" y="7"/>
                    </a:cubicBezTo>
                    <a:cubicBezTo>
                      <a:pt x="0" y="0"/>
                      <a:pt x="24" y="7"/>
                      <a:pt x="24" y="7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9" name="Freeform 18"/>
              <p:cNvSpPr>
                <a:spLocks/>
              </p:cNvSpPr>
              <p:nvPr/>
            </p:nvSpPr>
            <p:spPr bwMode="auto">
              <a:xfrm>
                <a:off x="6275388" y="3057525"/>
                <a:ext cx="676275" cy="509588"/>
              </a:xfrm>
              <a:custGeom>
                <a:avLst/>
                <a:gdLst/>
                <a:ahLst/>
                <a:cxnLst>
                  <a:cxn ang="0">
                    <a:pos x="508" y="232"/>
                  </a:cxn>
                  <a:cxn ang="0">
                    <a:pos x="501" y="272"/>
                  </a:cxn>
                  <a:cxn ang="0">
                    <a:pos x="478" y="312"/>
                  </a:cxn>
                  <a:cxn ang="0">
                    <a:pos x="465" y="351"/>
                  </a:cxn>
                  <a:cxn ang="0">
                    <a:pos x="398" y="370"/>
                  </a:cxn>
                  <a:cxn ang="0">
                    <a:pos x="335" y="350"/>
                  </a:cxn>
                  <a:cxn ang="0">
                    <a:pos x="329" y="330"/>
                  </a:cxn>
                  <a:cxn ang="0">
                    <a:pos x="314" y="333"/>
                  </a:cxn>
                  <a:cxn ang="0">
                    <a:pos x="313" y="315"/>
                  </a:cxn>
                  <a:cxn ang="0">
                    <a:pos x="301" y="329"/>
                  </a:cxn>
                  <a:cxn ang="0">
                    <a:pos x="310" y="292"/>
                  </a:cxn>
                  <a:cxn ang="0">
                    <a:pos x="278" y="315"/>
                  </a:cxn>
                  <a:cxn ang="0">
                    <a:pos x="214" y="276"/>
                  </a:cxn>
                  <a:cxn ang="0">
                    <a:pos x="131" y="308"/>
                  </a:cxn>
                  <a:cxn ang="0">
                    <a:pos x="93" y="311"/>
                  </a:cxn>
                  <a:cxn ang="0">
                    <a:pos x="22" y="310"/>
                  </a:cxn>
                  <a:cxn ang="0">
                    <a:pos x="23" y="262"/>
                  </a:cxn>
                  <a:cxn ang="0">
                    <a:pos x="2" y="204"/>
                  </a:cxn>
                  <a:cxn ang="0">
                    <a:pos x="9" y="204"/>
                  </a:cxn>
                  <a:cxn ang="0">
                    <a:pos x="3" y="176"/>
                  </a:cxn>
                  <a:cxn ang="0">
                    <a:pos x="8" y="145"/>
                  </a:cxn>
                  <a:cxn ang="0">
                    <a:pos x="32" y="132"/>
                  </a:cxn>
                  <a:cxn ang="0">
                    <a:pos x="114" y="95"/>
                  </a:cxn>
                  <a:cxn ang="0">
                    <a:pos x="119" y="76"/>
                  </a:cxn>
                  <a:cxn ang="0">
                    <a:pos x="131" y="71"/>
                  </a:cxn>
                  <a:cxn ang="0">
                    <a:pos x="150" y="50"/>
                  </a:cxn>
                  <a:cxn ang="0">
                    <a:pos x="187" y="58"/>
                  </a:cxn>
                  <a:cxn ang="0">
                    <a:pos x="203" y="56"/>
                  </a:cxn>
                  <a:cxn ang="0">
                    <a:pos x="211" y="30"/>
                  </a:cxn>
                  <a:cxn ang="0">
                    <a:pos x="244" y="17"/>
                  </a:cxn>
                  <a:cxn ang="0">
                    <a:pos x="276" y="19"/>
                  </a:cxn>
                  <a:cxn ang="0">
                    <a:pos x="297" y="23"/>
                  </a:cxn>
                  <a:cxn ang="0">
                    <a:pos x="281" y="54"/>
                  </a:cxn>
                  <a:cxn ang="0">
                    <a:pos x="295" y="68"/>
                  </a:cxn>
                  <a:cxn ang="0">
                    <a:pos x="341" y="90"/>
                  </a:cxn>
                  <a:cxn ang="0">
                    <a:pos x="359" y="15"/>
                  </a:cxn>
                  <a:cxn ang="0">
                    <a:pos x="381" y="28"/>
                  </a:cxn>
                  <a:cxn ang="0">
                    <a:pos x="400" y="50"/>
                  </a:cxn>
                  <a:cxn ang="0">
                    <a:pos x="419" y="104"/>
                  </a:cxn>
                  <a:cxn ang="0">
                    <a:pos x="457" y="146"/>
                  </a:cxn>
                  <a:cxn ang="0">
                    <a:pos x="497" y="185"/>
                  </a:cxn>
                </a:cxnLst>
                <a:rect l="0" t="0" r="r" b="b"/>
                <a:pathLst>
                  <a:path w="508" h="383">
                    <a:moveTo>
                      <a:pt x="496" y="186"/>
                    </a:moveTo>
                    <a:cubicBezTo>
                      <a:pt x="503" y="195"/>
                      <a:pt x="508" y="219"/>
                      <a:pt x="508" y="232"/>
                    </a:cubicBezTo>
                    <a:cubicBezTo>
                      <a:pt x="508" y="242"/>
                      <a:pt x="505" y="256"/>
                      <a:pt x="501" y="260"/>
                    </a:cubicBezTo>
                    <a:cubicBezTo>
                      <a:pt x="501" y="272"/>
                      <a:pt x="501" y="272"/>
                      <a:pt x="501" y="272"/>
                    </a:cubicBezTo>
                    <a:cubicBezTo>
                      <a:pt x="499" y="276"/>
                      <a:pt x="500" y="277"/>
                      <a:pt x="498" y="281"/>
                    </a:cubicBezTo>
                    <a:cubicBezTo>
                      <a:pt x="490" y="293"/>
                      <a:pt x="482" y="298"/>
                      <a:pt x="478" y="312"/>
                    </a:cubicBezTo>
                    <a:cubicBezTo>
                      <a:pt x="474" y="322"/>
                      <a:pt x="465" y="336"/>
                      <a:pt x="465" y="352"/>
                    </a:cubicBezTo>
                    <a:cubicBezTo>
                      <a:pt x="465" y="351"/>
                      <a:pt x="465" y="351"/>
                      <a:pt x="465" y="351"/>
                    </a:cubicBezTo>
                    <a:cubicBezTo>
                      <a:pt x="460" y="371"/>
                      <a:pt x="424" y="362"/>
                      <a:pt x="420" y="383"/>
                    </a:cubicBezTo>
                    <a:cubicBezTo>
                      <a:pt x="417" y="382"/>
                      <a:pt x="399" y="372"/>
                      <a:pt x="398" y="370"/>
                    </a:cubicBezTo>
                    <a:cubicBezTo>
                      <a:pt x="388" y="371"/>
                      <a:pt x="392" y="379"/>
                      <a:pt x="381" y="379"/>
                    </a:cubicBezTo>
                    <a:cubicBezTo>
                      <a:pt x="363" y="379"/>
                      <a:pt x="335" y="368"/>
                      <a:pt x="335" y="350"/>
                    </a:cubicBezTo>
                    <a:cubicBezTo>
                      <a:pt x="335" y="343"/>
                      <a:pt x="329" y="338"/>
                      <a:pt x="329" y="332"/>
                    </a:cubicBezTo>
                    <a:cubicBezTo>
                      <a:pt x="329" y="332"/>
                      <a:pt x="329" y="330"/>
                      <a:pt x="329" y="330"/>
                    </a:cubicBezTo>
                    <a:cubicBezTo>
                      <a:pt x="325" y="332"/>
                      <a:pt x="323" y="332"/>
                      <a:pt x="320" y="333"/>
                    </a:cubicBezTo>
                    <a:cubicBezTo>
                      <a:pt x="314" y="333"/>
                      <a:pt x="314" y="333"/>
                      <a:pt x="314" y="333"/>
                    </a:cubicBezTo>
                    <a:cubicBezTo>
                      <a:pt x="316" y="330"/>
                      <a:pt x="318" y="328"/>
                      <a:pt x="318" y="323"/>
                    </a:cubicBezTo>
                    <a:cubicBezTo>
                      <a:pt x="318" y="318"/>
                      <a:pt x="315" y="316"/>
                      <a:pt x="313" y="315"/>
                    </a:cubicBezTo>
                    <a:cubicBezTo>
                      <a:pt x="313" y="316"/>
                      <a:pt x="312" y="318"/>
                      <a:pt x="312" y="319"/>
                    </a:cubicBezTo>
                    <a:cubicBezTo>
                      <a:pt x="308" y="321"/>
                      <a:pt x="308" y="329"/>
                      <a:pt x="301" y="329"/>
                    </a:cubicBezTo>
                    <a:cubicBezTo>
                      <a:pt x="299" y="329"/>
                      <a:pt x="297" y="326"/>
                      <a:pt x="297" y="324"/>
                    </a:cubicBezTo>
                    <a:cubicBezTo>
                      <a:pt x="308" y="322"/>
                      <a:pt x="310" y="299"/>
                      <a:pt x="310" y="292"/>
                    </a:cubicBezTo>
                    <a:cubicBezTo>
                      <a:pt x="302" y="300"/>
                      <a:pt x="291" y="323"/>
                      <a:pt x="281" y="323"/>
                    </a:cubicBezTo>
                    <a:cubicBezTo>
                      <a:pt x="276" y="323"/>
                      <a:pt x="278" y="315"/>
                      <a:pt x="278" y="315"/>
                    </a:cubicBezTo>
                    <a:cubicBezTo>
                      <a:pt x="275" y="315"/>
                      <a:pt x="265" y="294"/>
                      <a:pt x="262" y="289"/>
                    </a:cubicBezTo>
                    <a:cubicBezTo>
                      <a:pt x="254" y="280"/>
                      <a:pt x="228" y="276"/>
                      <a:pt x="214" y="276"/>
                    </a:cubicBezTo>
                    <a:cubicBezTo>
                      <a:pt x="198" y="276"/>
                      <a:pt x="195" y="283"/>
                      <a:pt x="185" y="286"/>
                    </a:cubicBezTo>
                    <a:cubicBezTo>
                      <a:pt x="163" y="293"/>
                      <a:pt x="135" y="285"/>
                      <a:pt x="131" y="308"/>
                    </a:cubicBezTo>
                    <a:cubicBezTo>
                      <a:pt x="122" y="309"/>
                      <a:pt x="115" y="311"/>
                      <a:pt x="105" y="311"/>
                    </a:cubicBezTo>
                    <a:cubicBezTo>
                      <a:pt x="98" y="307"/>
                      <a:pt x="98" y="311"/>
                      <a:pt x="93" y="311"/>
                    </a:cubicBezTo>
                    <a:cubicBezTo>
                      <a:pt x="77" y="311"/>
                      <a:pt x="71" y="326"/>
                      <a:pt x="51" y="326"/>
                    </a:cubicBezTo>
                    <a:cubicBezTo>
                      <a:pt x="43" y="326"/>
                      <a:pt x="22" y="316"/>
                      <a:pt x="22" y="310"/>
                    </a:cubicBezTo>
                    <a:cubicBezTo>
                      <a:pt x="22" y="303"/>
                      <a:pt x="32" y="300"/>
                      <a:pt x="32" y="290"/>
                    </a:cubicBezTo>
                    <a:cubicBezTo>
                      <a:pt x="32" y="277"/>
                      <a:pt x="26" y="270"/>
                      <a:pt x="23" y="262"/>
                    </a:cubicBezTo>
                    <a:cubicBezTo>
                      <a:pt x="18" y="243"/>
                      <a:pt x="17" y="237"/>
                      <a:pt x="11" y="220"/>
                    </a:cubicBezTo>
                    <a:cubicBezTo>
                      <a:pt x="9" y="213"/>
                      <a:pt x="0" y="211"/>
                      <a:pt x="2" y="204"/>
                    </a:cubicBezTo>
                    <a:cubicBezTo>
                      <a:pt x="3" y="202"/>
                      <a:pt x="3" y="201"/>
                      <a:pt x="5" y="198"/>
                    </a:cubicBezTo>
                    <a:cubicBezTo>
                      <a:pt x="6" y="201"/>
                      <a:pt x="7" y="203"/>
                      <a:pt x="9" y="204"/>
                    </a:cubicBezTo>
                    <a:cubicBezTo>
                      <a:pt x="10" y="202"/>
                      <a:pt x="9" y="201"/>
                      <a:pt x="9" y="198"/>
                    </a:cubicBezTo>
                    <a:cubicBezTo>
                      <a:pt x="9" y="192"/>
                      <a:pt x="3" y="187"/>
                      <a:pt x="3" y="176"/>
                    </a:cubicBezTo>
                    <a:cubicBezTo>
                      <a:pt x="3" y="162"/>
                      <a:pt x="3" y="161"/>
                      <a:pt x="3" y="150"/>
                    </a:cubicBezTo>
                    <a:cubicBezTo>
                      <a:pt x="3" y="146"/>
                      <a:pt x="7" y="146"/>
                      <a:pt x="8" y="145"/>
                    </a:cubicBezTo>
                    <a:cubicBezTo>
                      <a:pt x="9" y="146"/>
                      <a:pt x="9" y="148"/>
                      <a:pt x="9" y="149"/>
                    </a:cubicBezTo>
                    <a:cubicBezTo>
                      <a:pt x="17" y="148"/>
                      <a:pt x="27" y="137"/>
                      <a:pt x="32" y="132"/>
                    </a:cubicBezTo>
                    <a:cubicBezTo>
                      <a:pt x="37" y="127"/>
                      <a:pt x="53" y="126"/>
                      <a:pt x="62" y="125"/>
                    </a:cubicBezTo>
                    <a:cubicBezTo>
                      <a:pt x="78" y="122"/>
                      <a:pt x="114" y="110"/>
                      <a:pt x="114" y="95"/>
                    </a:cubicBezTo>
                    <a:cubicBezTo>
                      <a:pt x="114" y="92"/>
                      <a:pt x="114" y="90"/>
                      <a:pt x="114" y="87"/>
                    </a:cubicBezTo>
                    <a:cubicBezTo>
                      <a:pt x="114" y="83"/>
                      <a:pt x="115" y="79"/>
                      <a:pt x="119" y="76"/>
                    </a:cubicBezTo>
                    <a:cubicBezTo>
                      <a:pt x="122" y="80"/>
                      <a:pt x="124" y="82"/>
                      <a:pt x="126" y="85"/>
                    </a:cubicBezTo>
                    <a:cubicBezTo>
                      <a:pt x="131" y="82"/>
                      <a:pt x="129" y="75"/>
                      <a:pt x="131" y="71"/>
                    </a:cubicBezTo>
                    <a:cubicBezTo>
                      <a:pt x="134" y="72"/>
                      <a:pt x="137" y="74"/>
                      <a:pt x="140" y="74"/>
                    </a:cubicBezTo>
                    <a:cubicBezTo>
                      <a:pt x="140" y="62"/>
                      <a:pt x="149" y="60"/>
                      <a:pt x="150" y="50"/>
                    </a:cubicBezTo>
                    <a:cubicBezTo>
                      <a:pt x="162" y="50"/>
                      <a:pt x="164" y="41"/>
                      <a:pt x="173" y="41"/>
                    </a:cubicBezTo>
                    <a:cubicBezTo>
                      <a:pt x="181" y="41"/>
                      <a:pt x="186" y="50"/>
                      <a:pt x="187" y="58"/>
                    </a:cubicBezTo>
                    <a:cubicBezTo>
                      <a:pt x="189" y="55"/>
                      <a:pt x="192" y="53"/>
                      <a:pt x="196" y="53"/>
                    </a:cubicBezTo>
                    <a:cubicBezTo>
                      <a:pt x="198" y="53"/>
                      <a:pt x="202" y="56"/>
                      <a:pt x="203" y="56"/>
                    </a:cubicBezTo>
                    <a:cubicBezTo>
                      <a:pt x="205" y="52"/>
                      <a:pt x="204" y="49"/>
                      <a:pt x="204" y="45"/>
                    </a:cubicBezTo>
                    <a:cubicBezTo>
                      <a:pt x="204" y="39"/>
                      <a:pt x="211" y="36"/>
                      <a:pt x="211" y="30"/>
                    </a:cubicBezTo>
                    <a:cubicBezTo>
                      <a:pt x="211" y="24"/>
                      <a:pt x="228" y="20"/>
                      <a:pt x="236" y="20"/>
                    </a:cubicBezTo>
                    <a:cubicBezTo>
                      <a:pt x="239" y="20"/>
                      <a:pt x="243" y="17"/>
                      <a:pt x="244" y="17"/>
                    </a:cubicBezTo>
                    <a:cubicBezTo>
                      <a:pt x="241" y="13"/>
                      <a:pt x="237" y="11"/>
                      <a:pt x="236" y="7"/>
                    </a:cubicBezTo>
                    <a:cubicBezTo>
                      <a:pt x="251" y="13"/>
                      <a:pt x="260" y="19"/>
                      <a:pt x="276" y="19"/>
                    </a:cubicBezTo>
                    <a:cubicBezTo>
                      <a:pt x="281" y="19"/>
                      <a:pt x="283" y="15"/>
                      <a:pt x="288" y="15"/>
                    </a:cubicBezTo>
                    <a:cubicBezTo>
                      <a:pt x="291" y="15"/>
                      <a:pt x="297" y="20"/>
                      <a:pt x="297" y="23"/>
                    </a:cubicBezTo>
                    <a:cubicBezTo>
                      <a:pt x="297" y="29"/>
                      <a:pt x="290" y="30"/>
                      <a:pt x="287" y="32"/>
                    </a:cubicBezTo>
                    <a:cubicBezTo>
                      <a:pt x="281" y="54"/>
                      <a:pt x="281" y="54"/>
                      <a:pt x="281" y="54"/>
                    </a:cubicBezTo>
                    <a:cubicBezTo>
                      <a:pt x="281" y="58"/>
                      <a:pt x="288" y="57"/>
                      <a:pt x="290" y="59"/>
                    </a:cubicBezTo>
                    <a:cubicBezTo>
                      <a:pt x="293" y="60"/>
                      <a:pt x="293" y="67"/>
                      <a:pt x="295" y="68"/>
                    </a:cubicBezTo>
                    <a:cubicBezTo>
                      <a:pt x="306" y="72"/>
                      <a:pt x="313" y="74"/>
                      <a:pt x="324" y="79"/>
                    </a:cubicBezTo>
                    <a:cubicBezTo>
                      <a:pt x="330" y="81"/>
                      <a:pt x="333" y="90"/>
                      <a:pt x="341" y="90"/>
                    </a:cubicBezTo>
                    <a:cubicBezTo>
                      <a:pt x="355" y="90"/>
                      <a:pt x="357" y="64"/>
                      <a:pt x="359" y="54"/>
                    </a:cubicBezTo>
                    <a:cubicBezTo>
                      <a:pt x="359" y="15"/>
                      <a:pt x="359" y="15"/>
                      <a:pt x="359" y="15"/>
                    </a:cubicBezTo>
                    <a:cubicBezTo>
                      <a:pt x="366" y="9"/>
                      <a:pt x="364" y="4"/>
                      <a:pt x="372" y="0"/>
                    </a:cubicBezTo>
                    <a:cubicBezTo>
                      <a:pt x="373" y="11"/>
                      <a:pt x="379" y="19"/>
                      <a:pt x="381" y="28"/>
                    </a:cubicBezTo>
                    <a:cubicBezTo>
                      <a:pt x="383" y="34"/>
                      <a:pt x="381" y="42"/>
                      <a:pt x="386" y="45"/>
                    </a:cubicBezTo>
                    <a:cubicBezTo>
                      <a:pt x="390" y="47"/>
                      <a:pt x="399" y="49"/>
                      <a:pt x="400" y="50"/>
                    </a:cubicBezTo>
                    <a:cubicBezTo>
                      <a:pt x="406" y="54"/>
                      <a:pt x="406" y="68"/>
                      <a:pt x="408" y="75"/>
                    </a:cubicBezTo>
                    <a:cubicBezTo>
                      <a:pt x="412" y="87"/>
                      <a:pt x="415" y="93"/>
                      <a:pt x="419" y="104"/>
                    </a:cubicBezTo>
                    <a:cubicBezTo>
                      <a:pt x="422" y="114"/>
                      <a:pt x="441" y="118"/>
                      <a:pt x="449" y="126"/>
                    </a:cubicBezTo>
                    <a:cubicBezTo>
                      <a:pt x="454" y="131"/>
                      <a:pt x="455" y="139"/>
                      <a:pt x="457" y="146"/>
                    </a:cubicBezTo>
                    <a:cubicBezTo>
                      <a:pt x="459" y="151"/>
                      <a:pt x="466" y="151"/>
                      <a:pt x="471" y="151"/>
                    </a:cubicBezTo>
                    <a:cubicBezTo>
                      <a:pt x="471" y="169"/>
                      <a:pt x="488" y="176"/>
                      <a:pt x="497" y="185"/>
                    </a:cubicBezTo>
                    <a:lnTo>
                      <a:pt x="496" y="186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0" name="Freeform 19"/>
              <p:cNvSpPr>
                <a:spLocks/>
              </p:cNvSpPr>
              <p:nvPr/>
            </p:nvSpPr>
            <p:spPr bwMode="auto">
              <a:xfrm>
                <a:off x="7043738" y="3598863"/>
                <a:ext cx="127000" cy="125413"/>
              </a:xfrm>
              <a:custGeom>
                <a:avLst/>
                <a:gdLst/>
                <a:ahLst/>
                <a:cxnLst>
                  <a:cxn ang="0">
                    <a:pos x="58" y="26"/>
                  </a:cxn>
                  <a:cxn ang="0">
                    <a:pos x="59" y="22"/>
                  </a:cxn>
                  <a:cxn ang="0">
                    <a:pos x="67" y="17"/>
                  </a:cxn>
                  <a:cxn ang="0">
                    <a:pos x="67" y="14"/>
                  </a:cxn>
                  <a:cxn ang="0">
                    <a:pos x="78" y="0"/>
                  </a:cxn>
                  <a:cxn ang="0">
                    <a:pos x="81" y="4"/>
                  </a:cxn>
                  <a:cxn ang="0">
                    <a:pos x="83" y="10"/>
                  </a:cxn>
                  <a:cxn ang="0">
                    <a:pos x="90" y="6"/>
                  </a:cxn>
                  <a:cxn ang="0">
                    <a:pos x="94" y="8"/>
                  </a:cxn>
                  <a:cxn ang="0">
                    <a:pos x="96" y="15"/>
                  </a:cxn>
                  <a:cxn ang="0">
                    <a:pos x="79" y="37"/>
                  </a:cxn>
                  <a:cxn ang="0">
                    <a:pos x="79" y="50"/>
                  </a:cxn>
                  <a:cxn ang="0">
                    <a:pos x="63" y="53"/>
                  </a:cxn>
                  <a:cxn ang="0">
                    <a:pos x="49" y="84"/>
                  </a:cxn>
                  <a:cxn ang="0">
                    <a:pos x="32" y="94"/>
                  </a:cxn>
                  <a:cxn ang="0">
                    <a:pos x="23" y="92"/>
                  </a:cxn>
                  <a:cxn ang="0">
                    <a:pos x="3" y="83"/>
                  </a:cxn>
                  <a:cxn ang="0">
                    <a:pos x="0" y="81"/>
                  </a:cxn>
                  <a:cxn ang="0">
                    <a:pos x="18" y="57"/>
                  </a:cxn>
                  <a:cxn ang="0">
                    <a:pos x="25" y="51"/>
                  </a:cxn>
                  <a:cxn ang="0">
                    <a:pos x="50" y="37"/>
                  </a:cxn>
                  <a:cxn ang="0">
                    <a:pos x="58" y="26"/>
                  </a:cxn>
                </a:cxnLst>
                <a:rect l="0" t="0" r="r" b="b"/>
                <a:pathLst>
                  <a:path w="96" h="94">
                    <a:moveTo>
                      <a:pt x="58" y="26"/>
                    </a:moveTo>
                    <a:cubicBezTo>
                      <a:pt x="58" y="26"/>
                      <a:pt x="58" y="23"/>
                      <a:pt x="59" y="22"/>
                    </a:cubicBezTo>
                    <a:cubicBezTo>
                      <a:pt x="60" y="18"/>
                      <a:pt x="63" y="17"/>
                      <a:pt x="67" y="17"/>
                    </a:cubicBezTo>
                    <a:cubicBezTo>
                      <a:pt x="67" y="16"/>
                      <a:pt x="67" y="15"/>
                      <a:pt x="67" y="14"/>
                    </a:cubicBezTo>
                    <a:cubicBezTo>
                      <a:pt x="67" y="8"/>
                      <a:pt x="74" y="2"/>
                      <a:pt x="78" y="0"/>
                    </a:cubicBezTo>
                    <a:cubicBezTo>
                      <a:pt x="78" y="3"/>
                      <a:pt x="79" y="4"/>
                      <a:pt x="81" y="4"/>
                    </a:cubicBezTo>
                    <a:cubicBezTo>
                      <a:pt x="81" y="7"/>
                      <a:pt x="80" y="10"/>
                      <a:pt x="83" y="10"/>
                    </a:cubicBezTo>
                    <a:cubicBezTo>
                      <a:pt x="86" y="10"/>
                      <a:pt x="88" y="7"/>
                      <a:pt x="90" y="6"/>
                    </a:cubicBezTo>
                    <a:cubicBezTo>
                      <a:pt x="91" y="8"/>
                      <a:pt x="92" y="8"/>
                      <a:pt x="94" y="8"/>
                    </a:cubicBezTo>
                    <a:cubicBezTo>
                      <a:pt x="94" y="12"/>
                      <a:pt x="94" y="14"/>
                      <a:pt x="96" y="15"/>
                    </a:cubicBezTo>
                    <a:cubicBezTo>
                      <a:pt x="95" y="21"/>
                      <a:pt x="86" y="37"/>
                      <a:pt x="79" y="37"/>
                    </a:cubicBezTo>
                    <a:cubicBezTo>
                      <a:pt x="78" y="43"/>
                      <a:pt x="80" y="45"/>
                      <a:pt x="79" y="50"/>
                    </a:cubicBezTo>
                    <a:cubicBezTo>
                      <a:pt x="77" y="50"/>
                      <a:pt x="66" y="53"/>
                      <a:pt x="63" y="53"/>
                    </a:cubicBezTo>
                    <a:cubicBezTo>
                      <a:pt x="61" y="58"/>
                      <a:pt x="49" y="84"/>
                      <a:pt x="49" y="84"/>
                    </a:cubicBezTo>
                    <a:cubicBezTo>
                      <a:pt x="45" y="88"/>
                      <a:pt x="37" y="94"/>
                      <a:pt x="32" y="94"/>
                    </a:cubicBezTo>
                    <a:cubicBezTo>
                      <a:pt x="30" y="94"/>
                      <a:pt x="25" y="92"/>
                      <a:pt x="23" y="92"/>
                    </a:cubicBezTo>
                    <a:cubicBezTo>
                      <a:pt x="20" y="92"/>
                      <a:pt x="3" y="85"/>
                      <a:pt x="3" y="83"/>
                    </a:cubicBezTo>
                    <a:cubicBezTo>
                      <a:pt x="2" y="83"/>
                      <a:pt x="0" y="82"/>
                      <a:pt x="0" y="81"/>
                    </a:cubicBezTo>
                    <a:cubicBezTo>
                      <a:pt x="0" y="70"/>
                      <a:pt x="14" y="64"/>
                      <a:pt x="18" y="57"/>
                    </a:cubicBezTo>
                    <a:cubicBezTo>
                      <a:pt x="20" y="54"/>
                      <a:pt x="22" y="51"/>
                      <a:pt x="25" y="51"/>
                    </a:cubicBezTo>
                    <a:cubicBezTo>
                      <a:pt x="36" y="51"/>
                      <a:pt x="42" y="40"/>
                      <a:pt x="50" y="37"/>
                    </a:cubicBezTo>
                    <a:cubicBezTo>
                      <a:pt x="52" y="36"/>
                      <a:pt x="58" y="26"/>
                      <a:pt x="58" y="26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1" name="Freeform 20"/>
              <p:cNvSpPr>
                <a:spLocks/>
              </p:cNvSpPr>
              <p:nvPr/>
            </p:nvSpPr>
            <p:spPr bwMode="auto">
              <a:xfrm>
                <a:off x="7148513" y="3476625"/>
                <a:ext cx="93663" cy="139700"/>
              </a:xfrm>
              <a:custGeom>
                <a:avLst/>
                <a:gdLst/>
                <a:ahLst/>
                <a:cxnLst>
                  <a:cxn ang="0">
                    <a:pos x="22" y="40"/>
                  </a:cxn>
                  <a:cxn ang="0">
                    <a:pos x="17" y="31"/>
                  </a:cxn>
                  <a:cxn ang="0">
                    <a:pos x="19" y="27"/>
                  </a:cxn>
                  <a:cxn ang="0">
                    <a:pos x="0" y="0"/>
                  </a:cxn>
                  <a:cxn ang="0">
                    <a:pos x="16" y="12"/>
                  </a:cxn>
                  <a:cxn ang="0">
                    <a:pos x="22" y="19"/>
                  </a:cxn>
                  <a:cxn ang="0">
                    <a:pos x="20" y="22"/>
                  </a:cxn>
                  <a:cxn ang="0">
                    <a:pos x="27" y="37"/>
                  </a:cxn>
                  <a:cxn ang="0">
                    <a:pos x="30" y="37"/>
                  </a:cxn>
                  <a:cxn ang="0">
                    <a:pos x="34" y="32"/>
                  </a:cxn>
                  <a:cxn ang="0">
                    <a:pos x="37" y="32"/>
                  </a:cxn>
                  <a:cxn ang="0">
                    <a:pos x="53" y="50"/>
                  </a:cxn>
                  <a:cxn ang="0">
                    <a:pos x="68" y="46"/>
                  </a:cxn>
                  <a:cxn ang="0">
                    <a:pos x="71" y="48"/>
                  </a:cxn>
                  <a:cxn ang="0">
                    <a:pos x="63" y="71"/>
                  </a:cxn>
                  <a:cxn ang="0">
                    <a:pos x="61" y="68"/>
                  </a:cxn>
                  <a:cxn ang="0">
                    <a:pos x="60" y="70"/>
                  </a:cxn>
                  <a:cxn ang="0">
                    <a:pos x="51" y="75"/>
                  </a:cxn>
                  <a:cxn ang="0">
                    <a:pos x="52" y="80"/>
                  </a:cxn>
                  <a:cxn ang="0">
                    <a:pos x="46" y="89"/>
                  </a:cxn>
                  <a:cxn ang="0">
                    <a:pos x="30" y="104"/>
                  </a:cxn>
                  <a:cxn ang="0">
                    <a:pos x="23" y="98"/>
                  </a:cxn>
                  <a:cxn ang="0">
                    <a:pos x="29" y="86"/>
                  </a:cxn>
                  <a:cxn ang="0">
                    <a:pos x="12" y="72"/>
                  </a:cxn>
                  <a:cxn ang="0">
                    <a:pos x="19" y="65"/>
                  </a:cxn>
                  <a:cxn ang="0">
                    <a:pos x="24" y="48"/>
                  </a:cxn>
                  <a:cxn ang="0">
                    <a:pos x="22" y="38"/>
                  </a:cxn>
                  <a:cxn ang="0">
                    <a:pos x="22" y="38"/>
                  </a:cxn>
                  <a:cxn ang="0">
                    <a:pos x="22" y="40"/>
                  </a:cxn>
                </a:cxnLst>
                <a:rect l="0" t="0" r="r" b="b"/>
                <a:pathLst>
                  <a:path w="71" h="104">
                    <a:moveTo>
                      <a:pt x="22" y="40"/>
                    </a:moveTo>
                    <a:cubicBezTo>
                      <a:pt x="21" y="36"/>
                      <a:pt x="17" y="35"/>
                      <a:pt x="17" y="31"/>
                    </a:cubicBezTo>
                    <a:cubicBezTo>
                      <a:pt x="17" y="30"/>
                      <a:pt x="18" y="28"/>
                      <a:pt x="19" y="27"/>
                    </a:cubicBezTo>
                    <a:cubicBezTo>
                      <a:pt x="8" y="25"/>
                      <a:pt x="2" y="11"/>
                      <a:pt x="0" y="0"/>
                    </a:cubicBezTo>
                    <a:cubicBezTo>
                      <a:pt x="4" y="7"/>
                      <a:pt x="12" y="8"/>
                      <a:pt x="16" y="12"/>
                    </a:cubicBezTo>
                    <a:cubicBezTo>
                      <a:pt x="19" y="15"/>
                      <a:pt x="19" y="18"/>
                      <a:pt x="22" y="19"/>
                    </a:cubicBezTo>
                    <a:cubicBezTo>
                      <a:pt x="21" y="21"/>
                      <a:pt x="20" y="21"/>
                      <a:pt x="20" y="22"/>
                    </a:cubicBezTo>
                    <a:cubicBezTo>
                      <a:pt x="20" y="25"/>
                      <a:pt x="25" y="34"/>
                      <a:pt x="27" y="37"/>
                    </a:cubicBezTo>
                    <a:cubicBezTo>
                      <a:pt x="30" y="37"/>
                      <a:pt x="30" y="37"/>
                      <a:pt x="30" y="37"/>
                    </a:cubicBezTo>
                    <a:cubicBezTo>
                      <a:pt x="30" y="34"/>
                      <a:pt x="32" y="32"/>
                      <a:pt x="34" y="32"/>
                    </a:cubicBezTo>
                    <a:cubicBezTo>
                      <a:pt x="35" y="32"/>
                      <a:pt x="36" y="32"/>
                      <a:pt x="37" y="32"/>
                    </a:cubicBezTo>
                    <a:cubicBezTo>
                      <a:pt x="37" y="44"/>
                      <a:pt x="42" y="50"/>
                      <a:pt x="53" y="50"/>
                    </a:cubicBezTo>
                    <a:cubicBezTo>
                      <a:pt x="61" y="50"/>
                      <a:pt x="61" y="46"/>
                      <a:pt x="68" y="46"/>
                    </a:cubicBezTo>
                    <a:cubicBezTo>
                      <a:pt x="69" y="46"/>
                      <a:pt x="71" y="47"/>
                      <a:pt x="71" y="48"/>
                    </a:cubicBezTo>
                    <a:cubicBezTo>
                      <a:pt x="65" y="55"/>
                      <a:pt x="67" y="64"/>
                      <a:pt x="63" y="71"/>
                    </a:cubicBezTo>
                    <a:cubicBezTo>
                      <a:pt x="61" y="68"/>
                      <a:pt x="61" y="68"/>
                      <a:pt x="61" y="68"/>
                    </a:cubicBezTo>
                    <a:cubicBezTo>
                      <a:pt x="60" y="68"/>
                      <a:pt x="60" y="70"/>
                      <a:pt x="60" y="70"/>
                    </a:cubicBezTo>
                    <a:cubicBezTo>
                      <a:pt x="55" y="71"/>
                      <a:pt x="51" y="72"/>
                      <a:pt x="51" y="75"/>
                    </a:cubicBezTo>
                    <a:cubicBezTo>
                      <a:pt x="51" y="77"/>
                      <a:pt x="52" y="78"/>
                      <a:pt x="52" y="80"/>
                    </a:cubicBezTo>
                    <a:cubicBezTo>
                      <a:pt x="52" y="83"/>
                      <a:pt x="47" y="87"/>
                      <a:pt x="46" y="89"/>
                    </a:cubicBezTo>
                    <a:cubicBezTo>
                      <a:pt x="42" y="95"/>
                      <a:pt x="39" y="104"/>
                      <a:pt x="30" y="104"/>
                    </a:cubicBezTo>
                    <a:cubicBezTo>
                      <a:pt x="26" y="104"/>
                      <a:pt x="23" y="102"/>
                      <a:pt x="23" y="98"/>
                    </a:cubicBezTo>
                    <a:cubicBezTo>
                      <a:pt x="23" y="93"/>
                      <a:pt x="29" y="91"/>
                      <a:pt x="29" y="86"/>
                    </a:cubicBezTo>
                    <a:cubicBezTo>
                      <a:pt x="29" y="77"/>
                      <a:pt x="12" y="80"/>
                      <a:pt x="12" y="72"/>
                    </a:cubicBezTo>
                    <a:cubicBezTo>
                      <a:pt x="12" y="68"/>
                      <a:pt x="16" y="67"/>
                      <a:pt x="19" y="65"/>
                    </a:cubicBezTo>
                    <a:cubicBezTo>
                      <a:pt x="23" y="61"/>
                      <a:pt x="24" y="55"/>
                      <a:pt x="24" y="48"/>
                    </a:cubicBezTo>
                    <a:cubicBezTo>
                      <a:pt x="24" y="44"/>
                      <a:pt x="22" y="40"/>
                      <a:pt x="22" y="38"/>
                    </a:cubicBezTo>
                    <a:cubicBezTo>
                      <a:pt x="22" y="38"/>
                      <a:pt x="22" y="38"/>
                      <a:pt x="22" y="38"/>
                    </a:cubicBezTo>
                    <a:lnTo>
                      <a:pt x="22" y="40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2" name="Freeform 116"/>
              <p:cNvSpPr>
                <a:spLocks/>
              </p:cNvSpPr>
              <p:nvPr/>
            </p:nvSpPr>
            <p:spPr bwMode="auto">
              <a:xfrm>
                <a:off x="6856413" y="3582988"/>
                <a:ext cx="6350" cy="952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4" y="7"/>
                  </a:cxn>
                  <a:cxn ang="0">
                    <a:pos x="0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7">
                    <a:moveTo>
                      <a:pt x="5" y="0"/>
                    </a:moveTo>
                    <a:cubicBezTo>
                      <a:pt x="5" y="4"/>
                      <a:pt x="4" y="5"/>
                      <a:pt x="4" y="7"/>
                    </a:cubicBezTo>
                    <a:cubicBezTo>
                      <a:pt x="0" y="6"/>
                      <a:pt x="0" y="3"/>
                      <a:pt x="0" y="0"/>
                    </a:cubicBezTo>
                    <a:cubicBezTo>
                      <a:pt x="2" y="0"/>
                      <a:pt x="4" y="0"/>
                      <a:pt x="5" y="0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3" name="Freeform 117"/>
              <p:cNvSpPr>
                <a:spLocks/>
              </p:cNvSpPr>
              <p:nvPr/>
            </p:nvSpPr>
            <p:spPr bwMode="auto">
              <a:xfrm>
                <a:off x="6664325" y="3500438"/>
                <a:ext cx="22225" cy="11113"/>
              </a:xfrm>
              <a:custGeom>
                <a:avLst/>
                <a:gdLst/>
                <a:ahLst/>
                <a:cxnLst>
                  <a:cxn ang="0">
                    <a:pos x="16" y="4"/>
                  </a:cxn>
                  <a:cxn ang="0">
                    <a:pos x="0" y="4"/>
                  </a:cxn>
                  <a:cxn ang="0">
                    <a:pos x="16" y="4"/>
                  </a:cxn>
                </a:cxnLst>
                <a:rect l="0" t="0" r="r" b="b"/>
                <a:pathLst>
                  <a:path w="16" h="8">
                    <a:moveTo>
                      <a:pt x="16" y="4"/>
                    </a:moveTo>
                    <a:cubicBezTo>
                      <a:pt x="11" y="7"/>
                      <a:pt x="4" y="8"/>
                      <a:pt x="0" y="4"/>
                    </a:cubicBezTo>
                    <a:cubicBezTo>
                      <a:pt x="9" y="0"/>
                      <a:pt x="10" y="0"/>
                      <a:pt x="16" y="4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4" name="Freeform 118"/>
              <p:cNvSpPr>
                <a:spLocks/>
              </p:cNvSpPr>
              <p:nvPr/>
            </p:nvSpPr>
            <p:spPr bwMode="auto">
              <a:xfrm>
                <a:off x="6556375" y="3065463"/>
                <a:ext cx="22225" cy="9525"/>
              </a:xfrm>
              <a:custGeom>
                <a:avLst/>
                <a:gdLst/>
                <a:ahLst/>
                <a:cxnLst>
                  <a:cxn ang="0">
                    <a:pos x="17" y="1"/>
                  </a:cxn>
                  <a:cxn ang="0">
                    <a:pos x="17" y="7"/>
                  </a:cxn>
                  <a:cxn ang="0">
                    <a:pos x="13" y="7"/>
                  </a:cxn>
                  <a:cxn ang="0">
                    <a:pos x="0" y="3"/>
                  </a:cxn>
                  <a:cxn ang="0">
                    <a:pos x="17" y="1"/>
                  </a:cxn>
                </a:cxnLst>
                <a:rect l="0" t="0" r="r" b="b"/>
                <a:pathLst>
                  <a:path w="17" h="7">
                    <a:moveTo>
                      <a:pt x="17" y="1"/>
                    </a:moveTo>
                    <a:cubicBezTo>
                      <a:pt x="17" y="7"/>
                      <a:pt x="17" y="7"/>
                      <a:pt x="17" y="7"/>
                    </a:cubicBezTo>
                    <a:cubicBezTo>
                      <a:pt x="16" y="7"/>
                      <a:pt x="14" y="7"/>
                      <a:pt x="13" y="7"/>
                    </a:cubicBezTo>
                    <a:cubicBezTo>
                      <a:pt x="8" y="7"/>
                      <a:pt x="2" y="5"/>
                      <a:pt x="0" y="3"/>
                    </a:cubicBezTo>
                    <a:cubicBezTo>
                      <a:pt x="8" y="1"/>
                      <a:pt x="11" y="0"/>
                      <a:pt x="17" y="1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415" name="Group 383"/>
          <p:cNvGrpSpPr/>
          <p:nvPr/>
        </p:nvGrpSpPr>
        <p:grpSpPr>
          <a:xfrm>
            <a:off x="5055571" y="262738"/>
            <a:ext cx="3100040" cy="2410223"/>
            <a:chOff x="4713288" y="1038225"/>
            <a:chExt cx="2847975" cy="2012950"/>
          </a:xfrm>
          <a:solidFill>
            <a:srgbClr val="40515A">
              <a:lumMod val="60000"/>
              <a:lumOff val="40000"/>
            </a:srgbClr>
          </a:solidFill>
        </p:grpSpPr>
        <p:sp>
          <p:nvSpPr>
            <p:cNvPr id="1416" name="Freeform 101"/>
            <p:cNvSpPr>
              <a:spLocks/>
            </p:cNvSpPr>
            <p:nvPr/>
          </p:nvSpPr>
          <p:spPr bwMode="auto">
            <a:xfrm>
              <a:off x="4818063" y="2127250"/>
              <a:ext cx="622300" cy="538163"/>
            </a:xfrm>
            <a:custGeom>
              <a:avLst/>
              <a:gdLst/>
              <a:ahLst/>
              <a:cxnLst>
                <a:cxn ang="0">
                  <a:pos x="102" y="154"/>
                </a:cxn>
                <a:cxn ang="0">
                  <a:pos x="113" y="126"/>
                </a:cxn>
                <a:cxn ang="0">
                  <a:pos x="122" y="86"/>
                </a:cxn>
                <a:cxn ang="0">
                  <a:pos x="125" y="77"/>
                </a:cxn>
                <a:cxn ang="0">
                  <a:pos x="108" y="77"/>
                </a:cxn>
                <a:cxn ang="0">
                  <a:pos x="64" y="77"/>
                </a:cxn>
                <a:cxn ang="0">
                  <a:pos x="27" y="79"/>
                </a:cxn>
                <a:cxn ang="0">
                  <a:pos x="26" y="77"/>
                </a:cxn>
                <a:cxn ang="0">
                  <a:pos x="0" y="55"/>
                </a:cxn>
                <a:cxn ang="0">
                  <a:pos x="9" y="37"/>
                </a:cxn>
                <a:cxn ang="0">
                  <a:pos x="41" y="20"/>
                </a:cxn>
                <a:cxn ang="0">
                  <a:pos x="48" y="13"/>
                </a:cxn>
                <a:cxn ang="0">
                  <a:pos x="80" y="4"/>
                </a:cxn>
                <a:cxn ang="0">
                  <a:pos x="127" y="7"/>
                </a:cxn>
                <a:cxn ang="0">
                  <a:pos x="174" y="15"/>
                </a:cxn>
                <a:cxn ang="0">
                  <a:pos x="223" y="21"/>
                </a:cxn>
                <a:cxn ang="0">
                  <a:pos x="256" y="44"/>
                </a:cxn>
                <a:cxn ang="0">
                  <a:pos x="278" y="33"/>
                </a:cxn>
                <a:cxn ang="0">
                  <a:pos x="281" y="43"/>
                </a:cxn>
                <a:cxn ang="0">
                  <a:pos x="289" y="65"/>
                </a:cxn>
                <a:cxn ang="0">
                  <a:pos x="309" y="76"/>
                </a:cxn>
                <a:cxn ang="0">
                  <a:pos x="350" y="76"/>
                </a:cxn>
                <a:cxn ang="0">
                  <a:pos x="359" y="63"/>
                </a:cxn>
                <a:cxn ang="0">
                  <a:pos x="387" y="51"/>
                </a:cxn>
                <a:cxn ang="0">
                  <a:pos x="439" y="74"/>
                </a:cxn>
                <a:cxn ang="0">
                  <a:pos x="445" y="96"/>
                </a:cxn>
                <a:cxn ang="0">
                  <a:pos x="435" y="119"/>
                </a:cxn>
                <a:cxn ang="0">
                  <a:pos x="436" y="138"/>
                </a:cxn>
                <a:cxn ang="0">
                  <a:pos x="449" y="156"/>
                </a:cxn>
                <a:cxn ang="0">
                  <a:pos x="445" y="179"/>
                </a:cxn>
                <a:cxn ang="0">
                  <a:pos x="448" y="232"/>
                </a:cxn>
                <a:cxn ang="0">
                  <a:pos x="448" y="240"/>
                </a:cxn>
                <a:cxn ang="0">
                  <a:pos x="393" y="231"/>
                </a:cxn>
                <a:cxn ang="0">
                  <a:pos x="370" y="220"/>
                </a:cxn>
                <a:cxn ang="0">
                  <a:pos x="333" y="207"/>
                </a:cxn>
                <a:cxn ang="0">
                  <a:pos x="313" y="192"/>
                </a:cxn>
                <a:cxn ang="0">
                  <a:pos x="278" y="183"/>
                </a:cxn>
                <a:cxn ang="0">
                  <a:pos x="304" y="224"/>
                </a:cxn>
                <a:cxn ang="0">
                  <a:pos x="315" y="227"/>
                </a:cxn>
                <a:cxn ang="0">
                  <a:pos x="313" y="246"/>
                </a:cxn>
                <a:cxn ang="0">
                  <a:pos x="379" y="225"/>
                </a:cxn>
                <a:cxn ang="0">
                  <a:pos x="406" y="260"/>
                </a:cxn>
                <a:cxn ang="0">
                  <a:pos x="414" y="270"/>
                </a:cxn>
                <a:cxn ang="0">
                  <a:pos x="410" y="302"/>
                </a:cxn>
                <a:cxn ang="0">
                  <a:pos x="390" y="321"/>
                </a:cxn>
                <a:cxn ang="0">
                  <a:pos x="365" y="347"/>
                </a:cxn>
                <a:cxn ang="0">
                  <a:pos x="328" y="368"/>
                </a:cxn>
                <a:cxn ang="0">
                  <a:pos x="265" y="395"/>
                </a:cxn>
                <a:cxn ang="0">
                  <a:pos x="234" y="404"/>
                </a:cxn>
                <a:cxn ang="0">
                  <a:pos x="217" y="399"/>
                </a:cxn>
                <a:cxn ang="0">
                  <a:pos x="209" y="372"/>
                </a:cxn>
                <a:cxn ang="0">
                  <a:pos x="198" y="340"/>
                </a:cxn>
                <a:cxn ang="0">
                  <a:pos x="162" y="280"/>
                </a:cxn>
                <a:cxn ang="0">
                  <a:pos x="154" y="259"/>
                </a:cxn>
                <a:cxn ang="0">
                  <a:pos x="140" y="251"/>
                </a:cxn>
                <a:cxn ang="0">
                  <a:pos x="131" y="229"/>
                </a:cxn>
                <a:cxn ang="0">
                  <a:pos x="109" y="196"/>
                </a:cxn>
                <a:cxn ang="0">
                  <a:pos x="112" y="177"/>
                </a:cxn>
              </a:cxnLst>
              <a:rect l="0" t="0" r="r" b="b"/>
              <a:pathLst>
                <a:path w="467" h="405">
                  <a:moveTo>
                    <a:pt x="112" y="177"/>
                  </a:moveTo>
                  <a:cubicBezTo>
                    <a:pt x="102" y="154"/>
                    <a:pt x="102" y="154"/>
                    <a:pt x="102" y="154"/>
                  </a:cubicBezTo>
                  <a:cubicBezTo>
                    <a:pt x="102" y="151"/>
                    <a:pt x="105" y="151"/>
                    <a:pt x="106" y="149"/>
                  </a:cubicBezTo>
                  <a:cubicBezTo>
                    <a:pt x="109" y="139"/>
                    <a:pt x="110" y="134"/>
                    <a:pt x="113" y="126"/>
                  </a:cubicBezTo>
                  <a:cubicBezTo>
                    <a:pt x="115" y="117"/>
                    <a:pt x="124" y="115"/>
                    <a:pt x="124" y="104"/>
                  </a:cubicBezTo>
                  <a:cubicBezTo>
                    <a:pt x="124" y="97"/>
                    <a:pt x="122" y="91"/>
                    <a:pt x="122" y="86"/>
                  </a:cubicBezTo>
                  <a:cubicBezTo>
                    <a:pt x="122" y="83"/>
                    <a:pt x="124" y="82"/>
                    <a:pt x="125" y="81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21" y="78"/>
                    <a:pt x="120" y="81"/>
                    <a:pt x="117" y="81"/>
                  </a:cubicBezTo>
                  <a:cubicBezTo>
                    <a:pt x="112" y="81"/>
                    <a:pt x="110" y="79"/>
                    <a:pt x="108" y="77"/>
                  </a:cubicBezTo>
                  <a:cubicBezTo>
                    <a:pt x="101" y="82"/>
                    <a:pt x="98" y="88"/>
                    <a:pt x="86" y="88"/>
                  </a:cubicBezTo>
                  <a:cubicBezTo>
                    <a:pt x="76" y="88"/>
                    <a:pt x="73" y="77"/>
                    <a:pt x="64" y="77"/>
                  </a:cubicBezTo>
                  <a:cubicBezTo>
                    <a:pt x="54" y="77"/>
                    <a:pt x="56" y="87"/>
                    <a:pt x="48" y="87"/>
                  </a:cubicBezTo>
                  <a:cubicBezTo>
                    <a:pt x="40" y="87"/>
                    <a:pt x="35" y="75"/>
                    <a:pt x="27" y="79"/>
                  </a:cubicBezTo>
                  <a:cubicBezTo>
                    <a:pt x="22" y="79"/>
                    <a:pt x="22" y="79"/>
                    <a:pt x="22" y="79"/>
                  </a:cubicBezTo>
                  <a:cubicBezTo>
                    <a:pt x="24" y="79"/>
                    <a:pt x="25" y="78"/>
                    <a:pt x="26" y="77"/>
                  </a:cubicBezTo>
                  <a:cubicBezTo>
                    <a:pt x="23" y="74"/>
                    <a:pt x="10" y="67"/>
                    <a:pt x="15" y="63"/>
                  </a:cubicBezTo>
                  <a:cubicBezTo>
                    <a:pt x="11" y="57"/>
                    <a:pt x="6" y="58"/>
                    <a:pt x="0" y="55"/>
                  </a:cubicBezTo>
                  <a:cubicBezTo>
                    <a:pt x="4" y="50"/>
                    <a:pt x="9" y="51"/>
                    <a:pt x="9" y="43"/>
                  </a:cubicBezTo>
                  <a:cubicBezTo>
                    <a:pt x="9" y="40"/>
                    <a:pt x="8" y="40"/>
                    <a:pt x="9" y="37"/>
                  </a:cubicBezTo>
                  <a:cubicBezTo>
                    <a:pt x="6" y="37"/>
                    <a:pt x="1" y="38"/>
                    <a:pt x="1" y="35"/>
                  </a:cubicBezTo>
                  <a:cubicBezTo>
                    <a:pt x="1" y="22"/>
                    <a:pt x="33" y="24"/>
                    <a:pt x="41" y="20"/>
                  </a:cubicBezTo>
                  <a:cubicBezTo>
                    <a:pt x="40" y="17"/>
                    <a:pt x="38" y="18"/>
                    <a:pt x="38" y="15"/>
                  </a:cubicBezTo>
                  <a:cubicBezTo>
                    <a:pt x="38" y="11"/>
                    <a:pt x="46" y="13"/>
                    <a:pt x="48" y="13"/>
                  </a:cubicBezTo>
                  <a:cubicBezTo>
                    <a:pt x="53" y="13"/>
                    <a:pt x="62" y="13"/>
                    <a:pt x="62" y="13"/>
                  </a:cubicBezTo>
                  <a:cubicBezTo>
                    <a:pt x="67" y="13"/>
                    <a:pt x="75" y="7"/>
                    <a:pt x="80" y="4"/>
                  </a:cubicBezTo>
                  <a:cubicBezTo>
                    <a:pt x="86" y="0"/>
                    <a:pt x="98" y="0"/>
                    <a:pt x="106" y="0"/>
                  </a:cubicBezTo>
                  <a:cubicBezTo>
                    <a:pt x="117" y="0"/>
                    <a:pt x="117" y="7"/>
                    <a:pt x="127" y="7"/>
                  </a:cubicBezTo>
                  <a:cubicBezTo>
                    <a:pt x="127" y="12"/>
                    <a:pt x="144" y="15"/>
                    <a:pt x="149" y="15"/>
                  </a:cubicBezTo>
                  <a:cubicBezTo>
                    <a:pt x="162" y="15"/>
                    <a:pt x="170" y="15"/>
                    <a:pt x="174" y="15"/>
                  </a:cubicBezTo>
                  <a:cubicBezTo>
                    <a:pt x="186" y="15"/>
                    <a:pt x="192" y="3"/>
                    <a:pt x="205" y="3"/>
                  </a:cubicBezTo>
                  <a:cubicBezTo>
                    <a:pt x="219" y="3"/>
                    <a:pt x="218" y="12"/>
                    <a:pt x="223" y="21"/>
                  </a:cubicBezTo>
                  <a:cubicBezTo>
                    <a:pt x="224" y="23"/>
                    <a:pt x="233" y="28"/>
                    <a:pt x="233" y="28"/>
                  </a:cubicBezTo>
                  <a:cubicBezTo>
                    <a:pt x="241" y="31"/>
                    <a:pt x="243" y="44"/>
                    <a:pt x="256" y="44"/>
                  </a:cubicBezTo>
                  <a:cubicBezTo>
                    <a:pt x="265" y="44"/>
                    <a:pt x="265" y="36"/>
                    <a:pt x="271" y="34"/>
                  </a:cubicBezTo>
                  <a:cubicBezTo>
                    <a:pt x="275" y="33"/>
                    <a:pt x="274" y="33"/>
                    <a:pt x="278" y="33"/>
                  </a:cubicBezTo>
                  <a:cubicBezTo>
                    <a:pt x="279" y="35"/>
                    <a:pt x="279" y="39"/>
                    <a:pt x="281" y="41"/>
                  </a:cubicBezTo>
                  <a:cubicBezTo>
                    <a:pt x="280" y="41"/>
                    <a:pt x="281" y="42"/>
                    <a:pt x="281" y="43"/>
                  </a:cubicBezTo>
                  <a:cubicBezTo>
                    <a:pt x="281" y="48"/>
                    <a:pt x="284" y="47"/>
                    <a:pt x="286" y="51"/>
                  </a:cubicBezTo>
                  <a:cubicBezTo>
                    <a:pt x="290" y="56"/>
                    <a:pt x="286" y="59"/>
                    <a:pt x="289" y="65"/>
                  </a:cubicBezTo>
                  <a:cubicBezTo>
                    <a:pt x="291" y="70"/>
                    <a:pt x="297" y="67"/>
                    <a:pt x="301" y="68"/>
                  </a:cubicBezTo>
                  <a:cubicBezTo>
                    <a:pt x="305" y="69"/>
                    <a:pt x="306" y="73"/>
                    <a:pt x="309" y="76"/>
                  </a:cubicBezTo>
                  <a:cubicBezTo>
                    <a:pt x="312" y="79"/>
                    <a:pt x="323" y="78"/>
                    <a:pt x="329" y="78"/>
                  </a:cubicBezTo>
                  <a:cubicBezTo>
                    <a:pt x="337" y="78"/>
                    <a:pt x="345" y="77"/>
                    <a:pt x="350" y="76"/>
                  </a:cubicBezTo>
                  <a:cubicBezTo>
                    <a:pt x="350" y="72"/>
                    <a:pt x="350" y="71"/>
                    <a:pt x="350" y="68"/>
                  </a:cubicBezTo>
                  <a:cubicBezTo>
                    <a:pt x="350" y="64"/>
                    <a:pt x="355" y="64"/>
                    <a:pt x="359" y="63"/>
                  </a:cubicBezTo>
                  <a:cubicBezTo>
                    <a:pt x="364" y="61"/>
                    <a:pt x="363" y="59"/>
                    <a:pt x="368" y="57"/>
                  </a:cubicBezTo>
                  <a:cubicBezTo>
                    <a:pt x="376" y="54"/>
                    <a:pt x="381" y="56"/>
                    <a:pt x="387" y="51"/>
                  </a:cubicBezTo>
                  <a:cubicBezTo>
                    <a:pt x="397" y="57"/>
                    <a:pt x="403" y="57"/>
                    <a:pt x="412" y="60"/>
                  </a:cubicBezTo>
                  <a:cubicBezTo>
                    <a:pt x="423" y="64"/>
                    <a:pt x="426" y="74"/>
                    <a:pt x="439" y="74"/>
                  </a:cubicBezTo>
                  <a:cubicBezTo>
                    <a:pt x="439" y="76"/>
                    <a:pt x="442" y="77"/>
                    <a:pt x="443" y="79"/>
                  </a:cubicBezTo>
                  <a:cubicBezTo>
                    <a:pt x="445" y="86"/>
                    <a:pt x="442" y="92"/>
                    <a:pt x="445" y="96"/>
                  </a:cubicBezTo>
                  <a:cubicBezTo>
                    <a:pt x="442" y="98"/>
                    <a:pt x="435" y="114"/>
                    <a:pt x="435" y="115"/>
                  </a:cubicBezTo>
                  <a:cubicBezTo>
                    <a:pt x="435" y="116"/>
                    <a:pt x="436" y="118"/>
                    <a:pt x="435" y="119"/>
                  </a:cubicBezTo>
                  <a:cubicBezTo>
                    <a:pt x="436" y="121"/>
                    <a:pt x="435" y="122"/>
                    <a:pt x="436" y="124"/>
                  </a:cubicBezTo>
                  <a:cubicBezTo>
                    <a:pt x="436" y="138"/>
                    <a:pt x="436" y="138"/>
                    <a:pt x="436" y="138"/>
                  </a:cubicBezTo>
                  <a:cubicBezTo>
                    <a:pt x="438" y="142"/>
                    <a:pt x="437" y="145"/>
                    <a:pt x="439" y="149"/>
                  </a:cubicBezTo>
                  <a:cubicBezTo>
                    <a:pt x="440" y="153"/>
                    <a:pt x="449" y="149"/>
                    <a:pt x="449" y="156"/>
                  </a:cubicBezTo>
                  <a:cubicBezTo>
                    <a:pt x="449" y="165"/>
                    <a:pt x="439" y="164"/>
                    <a:pt x="439" y="171"/>
                  </a:cubicBezTo>
                  <a:cubicBezTo>
                    <a:pt x="439" y="177"/>
                    <a:pt x="443" y="177"/>
                    <a:pt x="445" y="179"/>
                  </a:cubicBezTo>
                  <a:cubicBezTo>
                    <a:pt x="452" y="194"/>
                    <a:pt x="467" y="196"/>
                    <a:pt x="467" y="215"/>
                  </a:cubicBezTo>
                  <a:cubicBezTo>
                    <a:pt x="456" y="218"/>
                    <a:pt x="448" y="220"/>
                    <a:pt x="448" y="232"/>
                  </a:cubicBezTo>
                  <a:cubicBezTo>
                    <a:pt x="448" y="235"/>
                    <a:pt x="450" y="238"/>
                    <a:pt x="450" y="240"/>
                  </a:cubicBezTo>
                  <a:cubicBezTo>
                    <a:pt x="450" y="240"/>
                    <a:pt x="448" y="240"/>
                    <a:pt x="448" y="240"/>
                  </a:cubicBezTo>
                  <a:cubicBezTo>
                    <a:pt x="439" y="240"/>
                    <a:pt x="420" y="235"/>
                    <a:pt x="408" y="235"/>
                  </a:cubicBezTo>
                  <a:cubicBezTo>
                    <a:pt x="406" y="235"/>
                    <a:pt x="393" y="231"/>
                    <a:pt x="393" y="231"/>
                  </a:cubicBezTo>
                  <a:cubicBezTo>
                    <a:pt x="388" y="226"/>
                    <a:pt x="388" y="213"/>
                    <a:pt x="379" y="213"/>
                  </a:cubicBezTo>
                  <a:cubicBezTo>
                    <a:pt x="374" y="213"/>
                    <a:pt x="372" y="217"/>
                    <a:pt x="370" y="220"/>
                  </a:cubicBezTo>
                  <a:cubicBezTo>
                    <a:pt x="348" y="220"/>
                    <a:pt x="348" y="220"/>
                    <a:pt x="348" y="220"/>
                  </a:cubicBezTo>
                  <a:cubicBezTo>
                    <a:pt x="341" y="217"/>
                    <a:pt x="337" y="212"/>
                    <a:pt x="333" y="207"/>
                  </a:cubicBezTo>
                  <a:cubicBezTo>
                    <a:pt x="327" y="202"/>
                    <a:pt x="320" y="205"/>
                    <a:pt x="315" y="200"/>
                  </a:cubicBezTo>
                  <a:cubicBezTo>
                    <a:pt x="313" y="197"/>
                    <a:pt x="314" y="194"/>
                    <a:pt x="313" y="192"/>
                  </a:cubicBezTo>
                  <a:cubicBezTo>
                    <a:pt x="308" y="182"/>
                    <a:pt x="299" y="168"/>
                    <a:pt x="286" y="168"/>
                  </a:cubicBezTo>
                  <a:cubicBezTo>
                    <a:pt x="280" y="168"/>
                    <a:pt x="278" y="176"/>
                    <a:pt x="278" y="183"/>
                  </a:cubicBezTo>
                  <a:cubicBezTo>
                    <a:pt x="278" y="187"/>
                    <a:pt x="278" y="189"/>
                    <a:pt x="278" y="193"/>
                  </a:cubicBezTo>
                  <a:cubicBezTo>
                    <a:pt x="281" y="203"/>
                    <a:pt x="293" y="222"/>
                    <a:pt x="304" y="224"/>
                  </a:cubicBezTo>
                  <a:cubicBezTo>
                    <a:pt x="304" y="229"/>
                    <a:pt x="306" y="231"/>
                    <a:pt x="307" y="235"/>
                  </a:cubicBezTo>
                  <a:cubicBezTo>
                    <a:pt x="312" y="233"/>
                    <a:pt x="311" y="228"/>
                    <a:pt x="315" y="227"/>
                  </a:cubicBezTo>
                  <a:cubicBezTo>
                    <a:pt x="316" y="228"/>
                    <a:pt x="316" y="230"/>
                    <a:pt x="316" y="231"/>
                  </a:cubicBezTo>
                  <a:cubicBezTo>
                    <a:pt x="316" y="237"/>
                    <a:pt x="313" y="240"/>
                    <a:pt x="313" y="246"/>
                  </a:cubicBezTo>
                  <a:cubicBezTo>
                    <a:pt x="313" y="252"/>
                    <a:pt x="324" y="255"/>
                    <a:pt x="331" y="255"/>
                  </a:cubicBezTo>
                  <a:cubicBezTo>
                    <a:pt x="360" y="255"/>
                    <a:pt x="363" y="237"/>
                    <a:pt x="379" y="225"/>
                  </a:cubicBezTo>
                  <a:cubicBezTo>
                    <a:pt x="379" y="241"/>
                    <a:pt x="379" y="241"/>
                    <a:pt x="379" y="241"/>
                  </a:cubicBezTo>
                  <a:cubicBezTo>
                    <a:pt x="385" y="254"/>
                    <a:pt x="393" y="256"/>
                    <a:pt x="406" y="260"/>
                  </a:cubicBezTo>
                  <a:cubicBezTo>
                    <a:pt x="411" y="261"/>
                    <a:pt x="411" y="269"/>
                    <a:pt x="414" y="271"/>
                  </a:cubicBezTo>
                  <a:cubicBezTo>
                    <a:pt x="414" y="270"/>
                    <a:pt x="414" y="270"/>
                    <a:pt x="414" y="270"/>
                  </a:cubicBezTo>
                  <a:cubicBezTo>
                    <a:pt x="416" y="274"/>
                    <a:pt x="423" y="273"/>
                    <a:pt x="423" y="277"/>
                  </a:cubicBezTo>
                  <a:cubicBezTo>
                    <a:pt x="423" y="288"/>
                    <a:pt x="410" y="291"/>
                    <a:pt x="410" y="302"/>
                  </a:cubicBezTo>
                  <a:cubicBezTo>
                    <a:pt x="403" y="302"/>
                    <a:pt x="399" y="303"/>
                    <a:pt x="397" y="309"/>
                  </a:cubicBezTo>
                  <a:cubicBezTo>
                    <a:pt x="395" y="314"/>
                    <a:pt x="396" y="321"/>
                    <a:pt x="390" y="321"/>
                  </a:cubicBezTo>
                  <a:cubicBezTo>
                    <a:pt x="384" y="321"/>
                    <a:pt x="384" y="334"/>
                    <a:pt x="378" y="334"/>
                  </a:cubicBezTo>
                  <a:cubicBezTo>
                    <a:pt x="374" y="334"/>
                    <a:pt x="365" y="342"/>
                    <a:pt x="365" y="347"/>
                  </a:cubicBezTo>
                  <a:cubicBezTo>
                    <a:pt x="353" y="349"/>
                    <a:pt x="327" y="354"/>
                    <a:pt x="327" y="364"/>
                  </a:cubicBezTo>
                  <a:cubicBezTo>
                    <a:pt x="327" y="365"/>
                    <a:pt x="327" y="367"/>
                    <a:pt x="328" y="368"/>
                  </a:cubicBezTo>
                  <a:cubicBezTo>
                    <a:pt x="318" y="373"/>
                    <a:pt x="304" y="376"/>
                    <a:pt x="294" y="378"/>
                  </a:cubicBezTo>
                  <a:cubicBezTo>
                    <a:pt x="289" y="380"/>
                    <a:pt x="271" y="392"/>
                    <a:pt x="265" y="395"/>
                  </a:cubicBezTo>
                  <a:cubicBezTo>
                    <a:pt x="252" y="395"/>
                    <a:pt x="252" y="395"/>
                    <a:pt x="252" y="395"/>
                  </a:cubicBezTo>
                  <a:cubicBezTo>
                    <a:pt x="244" y="400"/>
                    <a:pt x="243" y="404"/>
                    <a:pt x="234" y="404"/>
                  </a:cubicBezTo>
                  <a:cubicBezTo>
                    <a:pt x="231" y="405"/>
                    <a:pt x="231" y="405"/>
                    <a:pt x="231" y="405"/>
                  </a:cubicBezTo>
                  <a:cubicBezTo>
                    <a:pt x="229" y="405"/>
                    <a:pt x="218" y="400"/>
                    <a:pt x="217" y="399"/>
                  </a:cubicBezTo>
                  <a:cubicBezTo>
                    <a:pt x="216" y="399"/>
                    <a:pt x="219" y="399"/>
                    <a:pt x="217" y="394"/>
                  </a:cubicBezTo>
                  <a:cubicBezTo>
                    <a:pt x="212" y="387"/>
                    <a:pt x="209" y="380"/>
                    <a:pt x="209" y="372"/>
                  </a:cubicBezTo>
                  <a:cubicBezTo>
                    <a:pt x="204" y="371"/>
                    <a:pt x="207" y="363"/>
                    <a:pt x="208" y="359"/>
                  </a:cubicBezTo>
                  <a:cubicBezTo>
                    <a:pt x="210" y="349"/>
                    <a:pt x="203" y="345"/>
                    <a:pt x="198" y="340"/>
                  </a:cubicBezTo>
                  <a:cubicBezTo>
                    <a:pt x="193" y="335"/>
                    <a:pt x="181" y="320"/>
                    <a:pt x="181" y="309"/>
                  </a:cubicBezTo>
                  <a:cubicBezTo>
                    <a:pt x="165" y="306"/>
                    <a:pt x="162" y="297"/>
                    <a:pt x="162" y="280"/>
                  </a:cubicBezTo>
                  <a:cubicBezTo>
                    <a:pt x="162" y="270"/>
                    <a:pt x="156" y="268"/>
                    <a:pt x="154" y="259"/>
                  </a:cubicBezTo>
                  <a:cubicBezTo>
                    <a:pt x="154" y="259"/>
                    <a:pt x="154" y="259"/>
                    <a:pt x="154" y="259"/>
                  </a:cubicBezTo>
                  <a:cubicBezTo>
                    <a:pt x="152" y="258"/>
                    <a:pt x="150" y="255"/>
                    <a:pt x="148" y="254"/>
                  </a:cubicBezTo>
                  <a:cubicBezTo>
                    <a:pt x="147" y="252"/>
                    <a:pt x="141" y="253"/>
                    <a:pt x="140" y="251"/>
                  </a:cubicBezTo>
                  <a:cubicBezTo>
                    <a:pt x="137" y="249"/>
                    <a:pt x="138" y="242"/>
                    <a:pt x="137" y="239"/>
                  </a:cubicBezTo>
                  <a:cubicBezTo>
                    <a:pt x="136" y="235"/>
                    <a:pt x="132" y="231"/>
                    <a:pt x="131" y="229"/>
                  </a:cubicBezTo>
                  <a:cubicBezTo>
                    <a:pt x="125" y="221"/>
                    <a:pt x="121" y="214"/>
                    <a:pt x="116" y="207"/>
                  </a:cubicBezTo>
                  <a:cubicBezTo>
                    <a:pt x="115" y="205"/>
                    <a:pt x="109" y="198"/>
                    <a:pt x="109" y="196"/>
                  </a:cubicBezTo>
                  <a:cubicBezTo>
                    <a:pt x="109" y="192"/>
                    <a:pt x="112" y="182"/>
                    <a:pt x="112" y="175"/>
                  </a:cubicBezTo>
                  <a:lnTo>
                    <a:pt x="112" y="177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7" name="Freeform 102"/>
            <p:cNvSpPr>
              <a:spLocks/>
            </p:cNvSpPr>
            <p:nvPr/>
          </p:nvSpPr>
          <p:spPr bwMode="auto">
            <a:xfrm>
              <a:off x="5713413" y="2714625"/>
              <a:ext cx="33338" cy="63500"/>
            </a:xfrm>
            <a:custGeom>
              <a:avLst/>
              <a:gdLst/>
              <a:ahLst/>
              <a:cxnLst>
                <a:cxn ang="0">
                  <a:pos x="25" y="30"/>
                </a:cxn>
                <a:cxn ang="0">
                  <a:pos x="11" y="48"/>
                </a:cxn>
                <a:cxn ang="0">
                  <a:pos x="0" y="35"/>
                </a:cxn>
                <a:cxn ang="0">
                  <a:pos x="6" y="0"/>
                </a:cxn>
                <a:cxn ang="0">
                  <a:pos x="25" y="30"/>
                </a:cxn>
              </a:cxnLst>
              <a:rect l="0" t="0" r="r" b="b"/>
              <a:pathLst>
                <a:path w="25" h="48">
                  <a:moveTo>
                    <a:pt x="25" y="30"/>
                  </a:moveTo>
                  <a:cubicBezTo>
                    <a:pt x="25" y="37"/>
                    <a:pt x="20" y="48"/>
                    <a:pt x="11" y="48"/>
                  </a:cubicBezTo>
                  <a:cubicBezTo>
                    <a:pt x="5" y="48"/>
                    <a:pt x="0" y="41"/>
                    <a:pt x="0" y="35"/>
                  </a:cubicBezTo>
                  <a:cubicBezTo>
                    <a:pt x="0" y="22"/>
                    <a:pt x="6" y="13"/>
                    <a:pt x="6" y="0"/>
                  </a:cubicBezTo>
                  <a:cubicBezTo>
                    <a:pt x="13" y="10"/>
                    <a:pt x="25" y="15"/>
                    <a:pt x="25" y="3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8" name="Freeform 103"/>
            <p:cNvSpPr>
              <a:spLocks/>
            </p:cNvSpPr>
            <p:nvPr/>
          </p:nvSpPr>
          <p:spPr bwMode="auto">
            <a:xfrm>
              <a:off x="5397500" y="2195513"/>
              <a:ext cx="677863" cy="544513"/>
            </a:xfrm>
            <a:custGeom>
              <a:avLst/>
              <a:gdLst/>
              <a:ahLst/>
              <a:cxnLst>
                <a:cxn ang="0">
                  <a:pos x="148" y="270"/>
                </a:cxn>
                <a:cxn ang="0">
                  <a:pos x="174" y="340"/>
                </a:cxn>
                <a:cxn ang="0">
                  <a:pos x="200" y="401"/>
                </a:cxn>
                <a:cxn ang="0">
                  <a:pos x="216" y="401"/>
                </a:cxn>
                <a:cxn ang="0">
                  <a:pos x="237" y="379"/>
                </a:cxn>
                <a:cxn ang="0">
                  <a:pos x="243" y="341"/>
                </a:cxn>
                <a:cxn ang="0">
                  <a:pos x="268" y="298"/>
                </a:cxn>
                <a:cxn ang="0">
                  <a:pos x="326" y="240"/>
                </a:cxn>
                <a:cxn ang="0">
                  <a:pos x="374" y="218"/>
                </a:cxn>
                <a:cxn ang="0">
                  <a:pos x="409" y="259"/>
                </a:cxn>
                <a:cxn ang="0">
                  <a:pos x="423" y="302"/>
                </a:cxn>
                <a:cxn ang="0">
                  <a:pos x="457" y="300"/>
                </a:cxn>
                <a:cxn ang="0">
                  <a:pos x="476" y="367"/>
                </a:cxn>
                <a:cxn ang="0">
                  <a:pos x="489" y="358"/>
                </a:cxn>
                <a:cxn ang="0">
                  <a:pos x="472" y="316"/>
                </a:cxn>
                <a:cxn ang="0">
                  <a:pos x="473" y="288"/>
                </a:cxn>
                <a:cxn ang="0">
                  <a:pos x="483" y="254"/>
                </a:cxn>
                <a:cxn ang="0">
                  <a:pos x="487" y="213"/>
                </a:cxn>
                <a:cxn ang="0">
                  <a:pos x="467" y="197"/>
                </a:cxn>
                <a:cxn ang="0">
                  <a:pos x="445" y="125"/>
                </a:cxn>
                <a:cxn ang="0">
                  <a:pos x="423" y="130"/>
                </a:cxn>
                <a:cxn ang="0">
                  <a:pos x="373" y="144"/>
                </a:cxn>
                <a:cxn ang="0">
                  <a:pos x="341" y="147"/>
                </a:cxn>
                <a:cxn ang="0">
                  <a:pos x="295" y="136"/>
                </a:cxn>
                <a:cxn ang="0">
                  <a:pos x="254" y="116"/>
                </a:cxn>
                <a:cxn ang="0">
                  <a:pos x="226" y="89"/>
                </a:cxn>
                <a:cxn ang="0">
                  <a:pos x="229" y="69"/>
                </a:cxn>
                <a:cxn ang="0">
                  <a:pos x="213" y="43"/>
                </a:cxn>
                <a:cxn ang="0">
                  <a:pos x="178" y="16"/>
                </a:cxn>
                <a:cxn ang="0">
                  <a:pos x="131" y="0"/>
                </a:cxn>
                <a:cxn ang="0">
                  <a:pos x="94" y="21"/>
                </a:cxn>
                <a:cxn ang="0">
                  <a:pos x="65" y="13"/>
                </a:cxn>
                <a:cxn ang="0">
                  <a:pos x="23" y="46"/>
                </a:cxn>
                <a:cxn ang="0">
                  <a:pos x="0" y="64"/>
                </a:cxn>
                <a:cxn ang="0">
                  <a:pos x="1" y="87"/>
                </a:cxn>
                <a:cxn ang="0">
                  <a:pos x="4" y="120"/>
                </a:cxn>
                <a:cxn ang="0">
                  <a:pos x="13" y="181"/>
                </a:cxn>
                <a:cxn ang="0">
                  <a:pos x="34" y="185"/>
                </a:cxn>
                <a:cxn ang="0">
                  <a:pos x="70" y="185"/>
                </a:cxn>
                <a:cxn ang="0">
                  <a:pos x="118" y="219"/>
                </a:cxn>
                <a:cxn ang="0">
                  <a:pos x="127" y="248"/>
                </a:cxn>
                <a:cxn ang="0">
                  <a:pos x="145" y="233"/>
                </a:cxn>
                <a:cxn ang="0">
                  <a:pos x="149" y="265"/>
                </a:cxn>
              </a:cxnLst>
              <a:rect l="0" t="0" r="r" b="b"/>
              <a:pathLst>
                <a:path w="509" h="410">
                  <a:moveTo>
                    <a:pt x="149" y="265"/>
                  </a:moveTo>
                  <a:cubicBezTo>
                    <a:pt x="147" y="263"/>
                    <a:pt x="147" y="263"/>
                    <a:pt x="147" y="263"/>
                  </a:cubicBezTo>
                  <a:cubicBezTo>
                    <a:pt x="147" y="265"/>
                    <a:pt x="148" y="268"/>
                    <a:pt x="148" y="270"/>
                  </a:cubicBezTo>
                  <a:cubicBezTo>
                    <a:pt x="148" y="278"/>
                    <a:pt x="153" y="286"/>
                    <a:pt x="155" y="295"/>
                  </a:cubicBezTo>
                  <a:cubicBezTo>
                    <a:pt x="158" y="305"/>
                    <a:pt x="166" y="319"/>
                    <a:pt x="168" y="326"/>
                  </a:cubicBezTo>
                  <a:cubicBezTo>
                    <a:pt x="170" y="332"/>
                    <a:pt x="170" y="334"/>
                    <a:pt x="174" y="340"/>
                  </a:cubicBezTo>
                  <a:cubicBezTo>
                    <a:pt x="177" y="345"/>
                    <a:pt x="175" y="351"/>
                    <a:pt x="179" y="358"/>
                  </a:cubicBezTo>
                  <a:cubicBezTo>
                    <a:pt x="180" y="362"/>
                    <a:pt x="187" y="366"/>
                    <a:pt x="188" y="372"/>
                  </a:cubicBezTo>
                  <a:cubicBezTo>
                    <a:pt x="191" y="382"/>
                    <a:pt x="196" y="390"/>
                    <a:pt x="200" y="401"/>
                  </a:cubicBezTo>
                  <a:cubicBezTo>
                    <a:pt x="200" y="402"/>
                    <a:pt x="202" y="405"/>
                    <a:pt x="204" y="405"/>
                  </a:cubicBezTo>
                  <a:cubicBezTo>
                    <a:pt x="204" y="409"/>
                    <a:pt x="207" y="410"/>
                    <a:pt x="210" y="410"/>
                  </a:cubicBezTo>
                  <a:cubicBezTo>
                    <a:pt x="214" y="410"/>
                    <a:pt x="214" y="405"/>
                    <a:pt x="216" y="401"/>
                  </a:cubicBezTo>
                  <a:cubicBezTo>
                    <a:pt x="218" y="397"/>
                    <a:pt x="219" y="398"/>
                    <a:pt x="224" y="396"/>
                  </a:cubicBezTo>
                  <a:cubicBezTo>
                    <a:pt x="228" y="394"/>
                    <a:pt x="227" y="382"/>
                    <a:pt x="233" y="381"/>
                  </a:cubicBezTo>
                  <a:cubicBezTo>
                    <a:pt x="234" y="380"/>
                    <a:pt x="237" y="380"/>
                    <a:pt x="237" y="379"/>
                  </a:cubicBezTo>
                  <a:cubicBezTo>
                    <a:pt x="240" y="379"/>
                    <a:pt x="240" y="379"/>
                    <a:pt x="240" y="379"/>
                  </a:cubicBezTo>
                  <a:cubicBezTo>
                    <a:pt x="237" y="367"/>
                    <a:pt x="237" y="367"/>
                    <a:pt x="237" y="367"/>
                  </a:cubicBezTo>
                  <a:cubicBezTo>
                    <a:pt x="237" y="359"/>
                    <a:pt x="243" y="352"/>
                    <a:pt x="243" y="341"/>
                  </a:cubicBezTo>
                  <a:cubicBezTo>
                    <a:pt x="243" y="334"/>
                    <a:pt x="240" y="329"/>
                    <a:pt x="240" y="321"/>
                  </a:cubicBezTo>
                  <a:cubicBezTo>
                    <a:pt x="240" y="312"/>
                    <a:pt x="249" y="311"/>
                    <a:pt x="257" y="308"/>
                  </a:cubicBezTo>
                  <a:cubicBezTo>
                    <a:pt x="260" y="307"/>
                    <a:pt x="265" y="302"/>
                    <a:pt x="268" y="298"/>
                  </a:cubicBezTo>
                  <a:cubicBezTo>
                    <a:pt x="277" y="290"/>
                    <a:pt x="284" y="281"/>
                    <a:pt x="293" y="272"/>
                  </a:cubicBezTo>
                  <a:cubicBezTo>
                    <a:pt x="300" y="265"/>
                    <a:pt x="313" y="263"/>
                    <a:pt x="321" y="255"/>
                  </a:cubicBezTo>
                  <a:cubicBezTo>
                    <a:pt x="325" y="251"/>
                    <a:pt x="325" y="246"/>
                    <a:pt x="326" y="240"/>
                  </a:cubicBezTo>
                  <a:cubicBezTo>
                    <a:pt x="328" y="236"/>
                    <a:pt x="337" y="236"/>
                    <a:pt x="340" y="229"/>
                  </a:cubicBezTo>
                  <a:cubicBezTo>
                    <a:pt x="344" y="231"/>
                    <a:pt x="344" y="233"/>
                    <a:pt x="351" y="233"/>
                  </a:cubicBezTo>
                  <a:cubicBezTo>
                    <a:pt x="362" y="233"/>
                    <a:pt x="374" y="231"/>
                    <a:pt x="374" y="218"/>
                  </a:cubicBezTo>
                  <a:cubicBezTo>
                    <a:pt x="381" y="219"/>
                    <a:pt x="389" y="222"/>
                    <a:pt x="390" y="228"/>
                  </a:cubicBezTo>
                  <a:cubicBezTo>
                    <a:pt x="392" y="233"/>
                    <a:pt x="391" y="240"/>
                    <a:pt x="395" y="245"/>
                  </a:cubicBezTo>
                  <a:cubicBezTo>
                    <a:pt x="398" y="251"/>
                    <a:pt x="403" y="255"/>
                    <a:pt x="409" y="259"/>
                  </a:cubicBezTo>
                  <a:cubicBezTo>
                    <a:pt x="414" y="267"/>
                    <a:pt x="419" y="274"/>
                    <a:pt x="422" y="283"/>
                  </a:cubicBezTo>
                  <a:cubicBezTo>
                    <a:pt x="423" y="285"/>
                    <a:pt x="425" y="286"/>
                    <a:pt x="425" y="289"/>
                  </a:cubicBezTo>
                  <a:cubicBezTo>
                    <a:pt x="425" y="293"/>
                    <a:pt x="423" y="296"/>
                    <a:pt x="423" y="302"/>
                  </a:cubicBezTo>
                  <a:cubicBezTo>
                    <a:pt x="423" y="307"/>
                    <a:pt x="423" y="313"/>
                    <a:pt x="430" y="313"/>
                  </a:cubicBezTo>
                  <a:cubicBezTo>
                    <a:pt x="442" y="313"/>
                    <a:pt x="445" y="300"/>
                    <a:pt x="453" y="293"/>
                  </a:cubicBezTo>
                  <a:cubicBezTo>
                    <a:pt x="455" y="295"/>
                    <a:pt x="454" y="297"/>
                    <a:pt x="457" y="300"/>
                  </a:cubicBezTo>
                  <a:cubicBezTo>
                    <a:pt x="457" y="300"/>
                    <a:pt x="461" y="300"/>
                    <a:pt x="462" y="302"/>
                  </a:cubicBezTo>
                  <a:cubicBezTo>
                    <a:pt x="467" y="308"/>
                    <a:pt x="459" y="322"/>
                    <a:pt x="465" y="322"/>
                  </a:cubicBezTo>
                  <a:cubicBezTo>
                    <a:pt x="465" y="336"/>
                    <a:pt x="476" y="347"/>
                    <a:pt x="476" y="367"/>
                  </a:cubicBezTo>
                  <a:cubicBezTo>
                    <a:pt x="476" y="371"/>
                    <a:pt x="473" y="382"/>
                    <a:pt x="476" y="383"/>
                  </a:cubicBezTo>
                  <a:cubicBezTo>
                    <a:pt x="480" y="376"/>
                    <a:pt x="481" y="371"/>
                    <a:pt x="485" y="363"/>
                  </a:cubicBezTo>
                  <a:cubicBezTo>
                    <a:pt x="486" y="361"/>
                    <a:pt x="489" y="360"/>
                    <a:pt x="489" y="358"/>
                  </a:cubicBezTo>
                  <a:cubicBezTo>
                    <a:pt x="489" y="354"/>
                    <a:pt x="483" y="334"/>
                    <a:pt x="479" y="330"/>
                  </a:cubicBezTo>
                  <a:cubicBezTo>
                    <a:pt x="476" y="327"/>
                    <a:pt x="472" y="325"/>
                    <a:pt x="472" y="320"/>
                  </a:cubicBezTo>
                  <a:cubicBezTo>
                    <a:pt x="472" y="319"/>
                    <a:pt x="472" y="318"/>
                    <a:pt x="472" y="316"/>
                  </a:cubicBezTo>
                  <a:cubicBezTo>
                    <a:pt x="472" y="317"/>
                    <a:pt x="472" y="317"/>
                    <a:pt x="472" y="317"/>
                  </a:cubicBezTo>
                  <a:cubicBezTo>
                    <a:pt x="473" y="316"/>
                    <a:pt x="476" y="311"/>
                    <a:pt x="476" y="307"/>
                  </a:cubicBezTo>
                  <a:cubicBezTo>
                    <a:pt x="476" y="302"/>
                    <a:pt x="476" y="293"/>
                    <a:pt x="473" y="288"/>
                  </a:cubicBezTo>
                  <a:cubicBezTo>
                    <a:pt x="470" y="284"/>
                    <a:pt x="464" y="284"/>
                    <a:pt x="464" y="276"/>
                  </a:cubicBezTo>
                  <a:cubicBezTo>
                    <a:pt x="464" y="268"/>
                    <a:pt x="467" y="262"/>
                    <a:pt x="472" y="258"/>
                  </a:cubicBezTo>
                  <a:cubicBezTo>
                    <a:pt x="474" y="255"/>
                    <a:pt x="479" y="256"/>
                    <a:pt x="483" y="254"/>
                  </a:cubicBezTo>
                  <a:cubicBezTo>
                    <a:pt x="493" y="247"/>
                    <a:pt x="500" y="244"/>
                    <a:pt x="509" y="230"/>
                  </a:cubicBezTo>
                  <a:cubicBezTo>
                    <a:pt x="506" y="230"/>
                    <a:pt x="505" y="231"/>
                    <a:pt x="501" y="231"/>
                  </a:cubicBezTo>
                  <a:cubicBezTo>
                    <a:pt x="493" y="231"/>
                    <a:pt x="487" y="222"/>
                    <a:pt x="487" y="213"/>
                  </a:cubicBezTo>
                  <a:cubicBezTo>
                    <a:pt x="483" y="212"/>
                    <a:pt x="482" y="199"/>
                    <a:pt x="478" y="199"/>
                  </a:cubicBezTo>
                  <a:cubicBezTo>
                    <a:pt x="475" y="199"/>
                    <a:pt x="472" y="202"/>
                    <a:pt x="469" y="202"/>
                  </a:cubicBezTo>
                  <a:cubicBezTo>
                    <a:pt x="468" y="202"/>
                    <a:pt x="467" y="199"/>
                    <a:pt x="467" y="197"/>
                  </a:cubicBezTo>
                  <a:cubicBezTo>
                    <a:pt x="467" y="181"/>
                    <a:pt x="479" y="180"/>
                    <a:pt x="479" y="163"/>
                  </a:cubicBezTo>
                  <a:cubicBezTo>
                    <a:pt x="479" y="154"/>
                    <a:pt x="472" y="151"/>
                    <a:pt x="468" y="144"/>
                  </a:cubicBezTo>
                  <a:cubicBezTo>
                    <a:pt x="457" y="139"/>
                    <a:pt x="448" y="140"/>
                    <a:pt x="445" y="125"/>
                  </a:cubicBezTo>
                  <a:cubicBezTo>
                    <a:pt x="442" y="125"/>
                    <a:pt x="442" y="125"/>
                    <a:pt x="442" y="125"/>
                  </a:cubicBezTo>
                  <a:cubicBezTo>
                    <a:pt x="438" y="129"/>
                    <a:pt x="438" y="129"/>
                    <a:pt x="438" y="129"/>
                  </a:cubicBezTo>
                  <a:cubicBezTo>
                    <a:pt x="433" y="131"/>
                    <a:pt x="427" y="126"/>
                    <a:pt x="423" y="130"/>
                  </a:cubicBezTo>
                  <a:cubicBezTo>
                    <a:pt x="422" y="132"/>
                    <a:pt x="421" y="133"/>
                    <a:pt x="418" y="135"/>
                  </a:cubicBezTo>
                  <a:cubicBezTo>
                    <a:pt x="415" y="137"/>
                    <a:pt x="401" y="149"/>
                    <a:pt x="394" y="149"/>
                  </a:cubicBezTo>
                  <a:cubicBezTo>
                    <a:pt x="387" y="149"/>
                    <a:pt x="382" y="144"/>
                    <a:pt x="373" y="144"/>
                  </a:cubicBezTo>
                  <a:cubicBezTo>
                    <a:pt x="362" y="144"/>
                    <a:pt x="360" y="152"/>
                    <a:pt x="354" y="155"/>
                  </a:cubicBezTo>
                  <a:cubicBezTo>
                    <a:pt x="353" y="152"/>
                    <a:pt x="352" y="145"/>
                    <a:pt x="349" y="145"/>
                  </a:cubicBezTo>
                  <a:cubicBezTo>
                    <a:pt x="347" y="145"/>
                    <a:pt x="345" y="147"/>
                    <a:pt x="341" y="147"/>
                  </a:cubicBezTo>
                  <a:cubicBezTo>
                    <a:pt x="335" y="147"/>
                    <a:pt x="329" y="147"/>
                    <a:pt x="323" y="147"/>
                  </a:cubicBezTo>
                  <a:cubicBezTo>
                    <a:pt x="313" y="147"/>
                    <a:pt x="309" y="141"/>
                    <a:pt x="302" y="136"/>
                  </a:cubicBezTo>
                  <a:cubicBezTo>
                    <a:pt x="300" y="135"/>
                    <a:pt x="296" y="139"/>
                    <a:pt x="295" y="136"/>
                  </a:cubicBezTo>
                  <a:cubicBezTo>
                    <a:pt x="293" y="132"/>
                    <a:pt x="293" y="129"/>
                    <a:pt x="290" y="127"/>
                  </a:cubicBezTo>
                  <a:cubicBezTo>
                    <a:pt x="283" y="124"/>
                    <a:pt x="279" y="126"/>
                    <a:pt x="273" y="120"/>
                  </a:cubicBezTo>
                  <a:cubicBezTo>
                    <a:pt x="268" y="115"/>
                    <a:pt x="263" y="118"/>
                    <a:pt x="254" y="116"/>
                  </a:cubicBezTo>
                  <a:cubicBezTo>
                    <a:pt x="246" y="114"/>
                    <a:pt x="243" y="108"/>
                    <a:pt x="236" y="106"/>
                  </a:cubicBezTo>
                  <a:cubicBezTo>
                    <a:pt x="234" y="105"/>
                    <a:pt x="229" y="106"/>
                    <a:pt x="228" y="103"/>
                  </a:cubicBezTo>
                  <a:cubicBezTo>
                    <a:pt x="227" y="98"/>
                    <a:pt x="227" y="94"/>
                    <a:pt x="226" y="89"/>
                  </a:cubicBezTo>
                  <a:cubicBezTo>
                    <a:pt x="226" y="85"/>
                    <a:pt x="226" y="85"/>
                    <a:pt x="226" y="85"/>
                  </a:cubicBezTo>
                  <a:cubicBezTo>
                    <a:pt x="231" y="85"/>
                    <a:pt x="236" y="86"/>
                    <a:pt x="236" y="80"/>
                  </a:cubicBezTo>
                  <a:cubicBezTo>
                    <a:pt x="236" y="75"/>
                    <a:pt x="229" y="74"/>
                    <a:pt x="229" y="69"/>
                  </a:cubicBezTo>
                  <a:cubicBezTo>
                    <a:pt x="229" y="57"/>
                    <a:pt x="246" y="59"/>
                    <a:pt x="246" y="47"/>
                  </a:cubicBezTo>
                  <a:cubicBezTo>
                    <a:pt x="246" y="43"/>
                    <a:pt x="236" y="35"/>
                    <a:pt x="232" y="35"/>
                  </a:cubicBezTo>
                  <a:cubicBezTo>
                    <a:pt x="224" y="35"/>
                    <a:pt x="221" y="42"/>
                    <a:pt x="213" y="43"/>
                  </a:cubicBezTo>
                  <a:cubicBezTo>
                    <a:pt x="205" y="40"/>
                    <a:pt x="200" y="40"/>
                    <a:pt x="194" y="34"/>
                  </a:cubicBezTo>
                  <a:cubicBezTo>
                    <a:pt x="191" y="31"/>
                    <a:pt x="193" y="25"/>
                    <a:pt x="188" y="24"/>
                  </a:cubicBezTo>
                  <a:cubicBezTo>
                    <a:pt x="182" y="22"/>
                    <a:pt x="178" y="24"/>
                    <a:pt x="178" y="16"/>
                  </a:cubicBezTo>
                  <a:cubicBezTo>
                    <a:pt x="172" y="15"/>
                    <a:pt x="168" y="15"/>
                    <a:pt x="163" y="15"/>
                  </a:cubicBezTo>
                  <a:cubicBezTo>
                    <a:pt x="154" y="15"/>
                    <a:pt x="150" y="23"/>
                    <a:pt x="140" y="23"/>
                  </a:cubicBezTo>
                  <a:cubicBezTo>
                    <a:pt x="130" y="23"/>
                    <a:pt x="140" y="0"/>
                    <a:pt x="131" y="0"/>
                  </a:cubicBezTo>
                  <a:cubicBezTo>
                    <a:pt x="122" y="0"/>
                    <a:pt x="120" y="10"/>
                    <a:pt x="116" y="10"/>
                  </a:cubicBezTo>
                  <a:cubicBezTo>
                    <a:pt x="115" y="10"/>
                    <a:pt x="114" y="11"/>
                    <a:pt x="113" y="10"/>
                  </a:cubicBezTo>
                  <a:cubicBezTo>
                    <a:pt x="110" y="16"/>
                    <a:pt x="103" y="21"/>
                    <a:pt x="94" y="21"/>
                  </a:cubicBezTo>
                  <a:cubicBezTo>
                    <a:pt x="91" y="21"/>
                    <a:pt x="90" y="16"/>
                    <a:pt x="86" y="16"/>
                  </a:cubicBezTo>
                  <a:cubicBezTo>
                    <a:pt x="83" y="16"/>
                    <a:pt x="73" y="20"/>
                    <a:pt x="72" y="15"/>
                  </a:cubicBezTo>
                  <a:cubicBezTo>
                    <a:pt x="68" y="15"/>
                    <a:pt x="69" y="13"/>
                    <a:pt x="65" y="13"/>
                  </a:cubicBezTo>
                  <a:cubicBezTo>
                    <a:pt x="54" y="13"/>
                    <a:pt x="53" y="24"/>
                    <a:pt x="45" y="32"/>
                  </a:cubicBezTo>
                  <a:cubicBezTo>
                    <a:pt x="42" y="35"/>
                    <a:pt x="37" y="35"/>
                    <a:pt x="33" y="39"/>
                  </a:cubicBezTo>
                  <a:cubicBezTo>
                    <a:pt x="30" y="42"/>
                    <a:pt x="28" y="46"/>
                    <a:pt x="23" y="46"/>
                  </a:cubicBezTo>
                  <a:cubicBezTo>
                    <a:pt x="19" y="46"/>
                    <a:pt x="16" y="42"/>
                    <a:pt x="12" y="42"/>
                  </a:cubicBezTo>
                  <a:cubicBezTo>
                    <a:pt x="11" y="42"/>
                    <a:pt x="11" y="45"/>
                    <a:pt x="10" y="45"/>
                  </a:cubicBezTo>
                  <a:cubicBezTo>
                    <a:pt x="7" y="47"/>
                    <a:pt x="0" y="63"/>
                    <a:pt x="0" y="64"/>
                  </a:cubicBezTo>
                  <a:cubicBezTo>
                    <a:pt x="0" y="65"/>
                    <a:pt x="1" y="67"/>
                    <a:pt x="0" y="68"/>
                  </a:cubicBezTo>
                  <a:cubicBezTo>
                    <a:pt x="1" y="70"/>
                    <a:pt x="0" y="71"/>
                    <a:pt x="1" y="73"/>
                  </a:cubicBezTo>
                  <a:cubicBezTo>
                    <a:pt x="1" y="87"/>
                    <a:pt x="1" y="87"/>
                    <a:pt x="1" y="87"/>
                  </a:cubicBezTo>
                  <a:cubicBezTo>
                    <a:pt x="3" y="91"/>
                    <a:pt x="2" y="94"/>
                    <a:pt x="4" y="98"/>
                  </a:cubicBezTo>
                  <a:cubicBezTo>
                    <a:pt x="5" y="102"/>
                    <a:pt x="14" y="98"/>
                    <a:pt x="14" y="105"/>
                  </a:cubicBezTo>
                  <a:cubicBezTo>
                    <a:pt x="14" y="114"/>
                    <a:pt x="4" y="113"/>
                    <a:pt x="4" y="120"/>
                  </a:cubicBezTo>
                  <a:cubicBezTo>
                    <a:pt x="4" y="126"/>
                    <a:pt x="8" y="126"/>
                    <a:pt x="10" y="128"/>
                  </a:cubicBezTo>
                  <a:cubicBezTo>
                    <a:pt x="17" y="143"/>
                    <a:pt x="32" y="145"/>
                    <a:pt x="32" y="164"/>
                  </a:cubicBezTo>
                  <a:cubicBezTo>
                    <a:pt x="21" y="167"/>
                    <a:pt x="13" y="169"/>
                    <a:pt x="13" y="181"/>
                  </a:cubicBezTo>
                  <a:cubicBezTo>
                    <a:pt x="13" y="184"/>
                    <a:pt x="15" y="187"/>
                    <a:pt x="15" y="189"/>
                  </a:cubicBezTo>
                  <a:cubicBezTo>
                    <a:pt x="30" y="188"/>
                    <a:pt x="30" y="188"/>
                    <a:pt x="30" y="188"/>
                  </a:cubicBezTo>
                  <a:cubicBezTo>
                    <a:pt x="31" y="187"/>
                    <a:pt x="33" y="186"/>
                    <a:pt x="34" y="185"/>
                  </a:cubicBezTo>
                  <a:cubicBezTo>
                    <a:pt x="46" y="188"/>
                    <a:pt x="46" y="188"/>
                    <a:pt x="46" y="188"/>
                  </a:cubicBezTo>
                  <a:cubicBezTo>
                    <a:pt x="50" y="188"/>
                    <a:pt x="52" y="184"/>
                    <a:pt x="57" y="184"/>
                  </a:cubicBezTo>
                  <a:cubicBezTo>
                    <a:pt x="62" y="184"/>
                    <a:pt x="65" y="184"/>
                    <a:pt x="70" y="185"/>
                  </a:cubicBezTo>
                  <a:cubicBezTo>
                    <a:pt x="75" y="187"/>
                    <a:pt x="78" y="197"/>
                    <a:pt x="82" y="203"/>
                  </a:cubicBezTo>
                  <a:cubicBezTo>
                    <a:pt x="86" y="209"/>
                    <a:pt x="99" y="218"/>
                    <a:pt x="108" y="218"/>
                  </a:cubicBezTo>
                  <a:cubicBezTo>
                    <a:pt x="111" y="218"/>
                    <a:pt x="114" y="218"/>
                    <a:pt x="118" y="219"/>
                  </a:cubicBezTo>
                  <a:cubicBezTo>
                    <a:pt x="116" y="221"/>
                    <a:pt x="116" y="225"/>
                    <a:pt x="112" y="225"/>
                  </a:cubicBezTo>
                  <a:cubicBezTo>
                    <a:pt x="108" y="227"/>
                    <a:pt x="105" y="225"/>
                    <a:pt x="101" y="227"/>
                  </a:cubicBezTo>
                  <a:cubicBezTo>
                    <a:pt x="108" y="234"/>
                    <a:pt x="113" y="248"/>
                    <a:pt x="127" y="248"/>
                  </a:cubicBezTo>
                  <a:cubicBezTo>
                    <a:pt x="138" y="248"/>
                    <a:pt x="139" y="233"/>
                    <a:pt x="144" y="227"/>
                  </a:cubicBezTo>
                  <a:cubicBezTo>
                    <a:pt x="148" y="227"/>
                    <a:pt x="148" y="227"/>
                    <a:pt x="148" y="227"/>
                  </a:cubicBezTo>
                  <a:cubicBezTo>
                    <a:pt x="148" y="229"/>
                    <a:pt x="145" y="232"/>
                    <a:pt x="145" y="233"/>
                  </a:cubicBezTo>
                  <a:cubicBezTo>
                    <a:pt x="145" y="239"/>
                    <a:pt x="150" y="244"/>
                    <a:pt x="150" y="251"/>
                  </a:cubicBezTo>
                  <a:cubicBezTo>
                    <a:pt x="150" y="257"/>
                    <a:pt x="147" y="258"/>
                    <a:pt x="147" y="264"/>
                  </a:cubicBezTo>
                  <a:lnTo>
                    <a:pt x="149" y="265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9" name="Freeform 104"/>
            <p:cNvSpPr>
              <a:spLocks/>
            </p:cNvSpPr>
            <p:nvPr/>
          </p:nvSpPr>
          <p:spPr bwMode="auto">
            <a:xfrm>
              <a:off x="5975350" y="2781300"/>
              <a:ext cx="177800" cy="192088"/>
            </a:xfrm>
            <a:custGeom>
              <a:avLst/>
              <a:gdLst/>
              <a:ahLst/>
              <a:cxnLst>
                <a:cxn ang="0">
                  <a:pos x="59" y="74"/>
                </a:cxn>
                <a:cxn ang="0">
                  <a:pos x="58" y="70"/>
                </a:cxn>
                <a:cxn ang="0">
                  <a:pos x="51" y="68"/>
                </a:cxn>
                <a:cxn ang="0">
                  <a:pos x="45" y="53"/>
                </a:cxn>
                <a:cxn ang="0">
                  <a:pos x="28" y="38"/>
                </a:cxn>
                <a:cxn ang="0">
                  <a:pos x="22" y="25"/>
                </a:cxn>
                <a:cxn ang="0">
                  <a:pos x="11" y="21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11" y="4"/>
                </a:cxn>
                <a:cxn ang="0">
                  <a:pos x="26" y="4"/>
                </a:cxn>
                <a:cxn ang="0">
                  <a:pos x="42" y="20"/>
                </a:cxn>
                <a:cxn ang="0">
                  <a:pos x="47" y="23"/>
                </a:cxn>
                <a:cxn ang="0">
                  <a:pos x="61" y="35"/>
                </a:cxn>
                <a:cxn ang="0">
                  <a:pos x="86" y="53"/>
                </a:cxn>
                <a:cxn ang="0">
                  <a:pos x="101" y="64"/>
                </a:cxn>
                <a:cxn ang="0">
                  <a:pos x="100" y="66"/>
                </a:cxn>
                <a:cxn ang="0">
                  <a:pos x="103" y="66"/>
                </a:cxn>
                <a:cxn ang="0">
                  <a:pos x="107" y="70"/>
                </a:cxn>
                <a:cxn ang="0">
                  <a:pos x="105" y="74"/>
                </a:cxn>
                <a:cxn ang="0">
                  <a:pos x="114" y="81"/>
                </a:cxn>
                <a:cxn ang="0">
                  <a:pos x="124" y="98"/>
                </a:cxn>
                <a:cxn ang="0">
                  <a:pos x="133" y="106"/>
                </a:cxn>
                <a:cxn ang="0">
                  <a:pos x="133" y="125"/>
                </a:cxn>
                <a:cxn ang="0">
                  <a:pos x="131" y="138"/>
                </a:cxn>
                <a:cxn ang="0">
                  <a:pos x="119" y="144"/>
                </a:cxn>
                <a:cxn ang="0">
                  <a:pos x="108" y="132"/>
                </a:cxn>
                <a:cxn ang="0">
                  <a:pos x="84" y="112"/>
                </a:cxn>
                <a:cxn ang="0">
                  <a:pos x="67" y="85"/>
                </a:cxn>
                <a:cxn ang="0">
                  <a:pos x="59" y="74"/>
                </a:cxn>
              </a:cxnLst>
              <a:rect l="0" t="0" r="r" b="b"/>
              <a:pathLst>
                <a:path w="133" h="144">
                  <a:moveTo>
                    <a:pt x="59" y="74"/>
                  </a:moveTo>
                  <a:cubicBezTo>
                    <a:pt x="58" y="74"/>
                    <a:pt x="59" y="72"/>
                    <a:pt x="58" y="70"/>
                  </a:cubicBezTo>
                  <a:cubicBezTo>
                    <a:pt x="57" y="69"/>
                    <a:pt x="52" y="69"/>
                    <a:pt x="51" y="68"/>
                  </a:cubicBezTo>
                  <a:cubicBezTo>
                    <a:pt x="49" y="67"/>
                    <a:pt x="45" y="56"/>
                    <a:pt x="45" y="53"/>
                  </a:cubicBezTo>
                  <a:cubicBezTo>
                    <a:pt x="41" y="43"/>
                    <a:pt x="31" y="44"/>
                    <a:pt x="28" y="38"/>
                  </a:cubicBezTo>
                  <a:cubicBezTo>
                    <a:pt x="26" y="33"/>
                    <a:pt x="24" y="30"/>
                    <a:pt x="22" y="25"/>
                  </a:cubicBezTo>
                  <a:cubicBezTo>
                    <a:pt x="20" y="21"/>
                    <a:pt x="15" y="22"/>
                    <a:pt x="11" y="21"/>
                  </a:cubicBezTo>
                  <a:cubicBezTo>
                    <a:pt x="8" y="20"/>
                    <a:pt x="1" y="8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7" y="0"/>
                    <a:pt x="8" y="2"/>
                    <a:pt x="11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35" y="7"/>
                    <a:pt x="38" y="13"/>
                    <a:pt x="42" y="20"/>
                  </a:cubicBezTo>
                  <a:cubicBezTo>
                    <a:pt x="43" y="23"/>
                    <a:pt x="45" y="22"/>
                    <a:pt x="47" y="23"/>
                  </a:cubicBezTo>
                  <a:cubicBezTo>
                    <a:pt x="53" y="25"/>
                    <a:pt x="56" y="30"/>
                    <a:pt x="61" y="35"/>
                  </a:cubicBezTo>
                  <a:cubicBezTo>
                    <a:pt x="69" y="43"/>
                    <a:pt x="74" y="49"/>
                    <a:pt x="86" y="53"/>
                  </a:cubicBezTo>
                  <a:cubicBezTo>
                    <a:pt x="93" y="55"/>
                    <a:pt x="101" y="57"/>
                    <a:pt x="101" y="64"/>
                  </a:cubicBezTo>
                  <a:cubicBezTo>
                    <a:pt x="101" y="64"/>
                    <a:pt x="100" y="65"/>
                    <a:pt x="100" y="66"/>
                  </a:cubicBezTo>
                  <a:cubicBezTo>
                    <a:pt x="101" y="66"/>
                    <a:pt x="102" y="66"/>
                    <a:pt x="103" y="66"/>
                  </a:cubicBezTo>
                  <a:cubicBezTo>
                    <a:pt x="105" y="66"/>
                    <a:pt x="106" y="68"/>
                    <a:pt x="107" y="70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05" y="80"/>
                    <a:pt x="109" y="81"/>
                    <a:pt x="114" y="81"/>
                  </a:cubicBezTo>
                  <a:cubicBezTo>
                    <a:pt x="114" y="91"/>
                    <a:pt x="119" y="93"/>
                    <a:pt x="124" y="98"/>
                  </a:cubicBezTo>
                  <a:cubicBezTo>
                    <a:pt x="127" y="101"/>
                    <a:pt x="133" y="102"/>
                    <a:pt x="133" y="106"/>
                  </a:cubicBezTo>
                  <a:cubicBezTo>
                    <a:pt x="133" y="112"/>
                    <a:pt x="133" y="116"/>
                    <a:pt x="133" y="125"/>
                  </a:cubicBezTo>
                  <a:cubicBezTo>
                    <a:pt x="128" y="127"/>
                    <a:pt x="131" y="133"/>
                    <a:pt x="131" y="138"/>
                  </a:cubicBezTo>
                  <a:cubicBezTo>
                    <a:pt x="131" y="143"/>
                    <a:pt x="122" y="144"/>
                    <a:pt x="119" y="144"/>
                  </a:cubicBezTo>
                  <a:cubicBezTo>
                    <a:pt x="116" y="144"/>
                    <a:pt x="109" y="132"/>
                    <a:pt x="108" y="132"/>
                  </a:cubicBezTo>
                  <a:cubicBezTo>
                    <a:pt x="100" y="124"/>
                    <a:pt x="92" y="120"/>
                    <a:pt x="84" y="112"/>
                  </a:cubicBezTo>
                  <a:cubicBezTo>
                    <a:pt x="75" y="103"/>
                    <a:pt x="71" y="95"/>
                    <a:pt x="67" y="85"/>
                  </a:cubicBezTo>
                  <a:cubicBezTo>
                    <a:pt x="66" y="83"/>
                    <a:pt x="60" y="74"/>
                    <a:pt x="59" y="74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0" name="Freeform 105"/>
            <p:cNvSpPr>
              <a:spLocks/>
            </p:cNvSpPr>
            <p:nvPr/>
          </p:nvSpPr>
          <p:spPr bwMode="auto">
            <a:xfrm>
              <a:off x="6203950" y="2757488"/>
              <a:ext cx="169863" cy="188913"/>
            </a:xfrm>
            <a:custGeom>
              <a:avLst/>
              <a:gdLst/>
              <a:ahLst/>
              <a:cxnLst>
                <a:cxn ang="0">
                  <a:pos x="37" y="130"/>
                </a:cxn>
                <a:cxn ang="0">
                  <a:pos x="36" y="124"/>
                </a:cxn>
                <a:cxn ang="0">
                  <a:pos x="27" y="126"/>
                </a:cxn>
                <a:cxn ang="0">
                  <a:pos x="11" y="102"/>
                </a:cxn>
                <a:cxn ang="0">
                  <a:pos x="12" y="99"/>
                </a:cxn>
                <a:cxn ang="0">
                  <a:pos x="6" y="97"/>
                </a:cxn>
                <a:cxn ang="0">
                  <a:pos x="0" y="78"/>
                </a:cxn>
                <a:cxn ang="0">
                  <a:pos x="15" y="74"/>
                </a:cxn>
                <a:cxn ang="0">
                  <a:pos x="33" y="54"/>
                </a:cxn>
                <a:cxn ang="0">
                  <a:pos x="45" y="50"/>
                </a:cxn>
                <a:cxn ang="0">
                  <a:pos x="56" y="41"/>
                </a:cxn>
                <a:cxn ang="0">
                  <a:pos x="59" y="35"/>
                </a:cxn>
                <a:cxn ang="0">
                  <a:pos x="63" y="32"/>
                </a:cxn>
                <a:cxn ang="0">
                  <a:pos x="66" y="29"/>
                </a:cxn>
                <a:cxn ang="0">
                  <a:pos x="82" y="23"/>
                </a:cxn>
                <a:cxn ang="0">
                  <a:pos x="102" y="0"/>
                </a:cxn>
                <a:cxn ang="0">
                  <a:pos x="109" y="11"/>
                </a:cxn>
                <a:cxn ang="0">
                  <a:pos x="127" y="23"/>
                </a:cxn>
                <a:cxn ang="0">
                  <a:pos x="117" y="29"/>
                </a:cxn>
                <a:cxn ang="0">
                  <a:pos x="119" y="31"/>
                </a:cxn>
                <a:cxn ang="0">
                  <a:pos x="106" y="37"/>
                </a:cxn>
                <a:cxn ang="0">
                  <a:pos x="108" y="41"/>
                </a:cxn>
                <a:cxn ang="0">
                  <a:pos x="105" y="44"/>
                </a:cxn>
                <a:cxn ang="0">
                  <a:pos x="125" y="73"/>
                </a:cxn>
                <a:cxn ang="0">
                  <a:pos x="115" y="77"/>
                </a:cxn>
                <a:cxn ang="0">
                  <a:pos x="111" y="78"/>
                </a:cxn>
                <a:cxn ang="0">
                  <a:pos x="109" y="83"/>
                </a:cxn>
                <a:cxn ang="0">
                  <a:pos x="103" y="102"/>
                </a:cxn>
                <a:cxn ang="0">
                  <a:pos x="93" y="113"/>
                </a:cxn>
                <a:cxn ang="0">
                  <a:pos x="95" y="119"/>
                </a:cxn>
                <a:cxn ang="0">
                  <a:pos x="90" y="134"/>
                </a:cxn>
                <a:cxn ang="0">
                  <a:pos x="76" y="141"/>
                </a:cxn>
                <a:cxn ang="0">
                  <a:pos x="71" y="135"/>
                </a:cxn>
                <a:cxn ang="0">
                  <a:pos x="51" y="128"/>
                </a:cxn>
                <a:cxn ang="0">
                  <a:pos x="40" y="132"/>
                </a:cxn>
                <a:cxn ang="0">
                  <a:pos x="37" y="130"/>
                </a:cxn>
              </a:cxnLst>
              <a:rect l="0" t="0" r="r" b="b"/>
              <a:pathLst>
                <a:path w="127" h="141">
                  <a:moveTo>
                    <a:pt x="37" y="130"/>
                  </a:moveTo>
                  <a:cubicBezTo>
                    <a:pt x="36" y="130"/>
                    <a:pt x="36" y="125"/>
                    <a:pt x="36" y="124"/>
                  </a:cubicBezTo>
                  <a:cubicBezTo>
                    <a:pt x="32" y="123"/>
                    <a:pt x="30" y="126"/>
                    <a:pt x="27" y="126"/>
                  </a:cubicBezTo>
                  <a:cubicBezTo>
                    <a:pt x="10" y="126"/>
                    <a:pt x="17" y="110"/>
                    <a:pt x="11" y="102"/>
                  </a:cubicBezTo>
                  <a:cubicBezTo>
                    <a:pt x="11" y="101"/>
                    <a:pt x="12" y="100"/>
                    <a:pt x="12" y="99"/>
                  </a:cubicBezTo>
                  <a:cubicBezTo>
                    <a:pt x="11" y="97"/>
                    <a:pt x="8" y="97"/>
                    <a:pt x="6" y="97"/>
                  </a:cubicBezTo>
                  <a:cubicBezTo>
                    <a:pt x="4" y="96"/>
                    <a:pt x="0" y="80"/>
                    <a:pt x="0" y="78"/>
                  </a:cubicBezTo>
                  <a:cubicBezTo>
                    <a:pt x="0" y="71"/>
                    <a:pt x="9" y="74"/>
                    <a:pt x="15" y="74"/>
                  </a:cubicBezTo>
                  <a:cubicBezTo>
                    <a:pt x="29" y="74"/>
                    <a:pt x="27" y="60"/>
                    <a:pt x="33" y="54"/>
                  </a:cubicBezTo>
                  <a:cubicBezTo>
                    <a:pt x="36" y="51"/>
                    <a:pt x="41" y="51"/>
                    <a:pt x="45" y="50"/>
                  </a:cubicBezTo>
                  <a:cubicBezTo>
                    <a:pt x="52" y="49"/>
                    <a:pt x="52" y="44"/>
                    <a:pt x="56" y="41"/>
                  </a:cubicBezTo>
                  <a:cubicBezTo>
                    <a:pt x="54" y="39"/>
                    <a:pt x="59" y="35"/>
                    <a:pt x="59" y="35"/>
                  </a:cubicBezTo>
                  <a:cubicBezTo>
                    <a:pt x="61" y="34"/>
                    <a:pt x="61" y="33"/>
                    <a:pt x="63" y="32"/>
                  </a:cubicBezTo>
                  <a:cubicBezTo>
                    <a:pt x="64" y="32"/>
                    <a:pt x="65" y="30"/>
                    <a:pt x="66" y="29"/>
                  </a:cubicBezTo>
                  <a:cubicBezTo>
                    <a:pt x="70" y="25"/>
                    <a:pt x="80" y="27"/>
                    <a:pt x="82" y="23"/>
                  </a:cubicBezTo>
                  <a:cubicBezTo>
                    <a:pt x="85" y="16"/>
                    <a:pt x="95" y="0"/>
                    <a:pt x="102" y="0"/>
                  </a:cubicBezTo>
                  <a:cubicBezTo>
                    <a:pt x="109" y="0"/>
                    <a:pt x="109" y="4"/>
                    <a:pt x="109" y="11"/>
                  </a:cubicBezTo>
                  <a:cubicBezTo>
                    <a:pt x="109" y="20"/>
                    <a:pt x="127" y="15"/>
                    <a:pt x="127" y="23"/>
                  </a:cubicBezTo>
                  <a:cubicBezTo>
                    <a:pt x="127" y="27"/>
                    <a:pt x="117" y="25"/>
                    <a:pt x="117" y="29"/>
                  </a:cubicBezTo>
                  <a:cubicBezTo>
                    <a:pt x="117" y="30"/>
                    <a:pt x="118" y="31"/>
                    <a:pt x="119" y="31"/>
                  </a:cubicBezTo>
                  <a:cubicBezTo>
                    <a:pt x="118" y="32"/>
                    <a:pt x="106" y="37"/>
                    <a:pt x="106" y="37"/>
                  </a:cubicBezTo>
                  <a:cubicBezTo>
                    <a:pt x="107" y="38"/>
                    <a:pt x="108" y="40"/>
                    <a:pt x="108" y="41"/>
                  </a:cubicBezTo>
                  <a:cubicBezTo>
                    <a:pt x="107" y="42"/>
                    <a:pt x="105" y="43"/>
                    <a:pt x="105" y="44"/>
                  </a:cubicBezTo>
                  <a:cubicBezTo>
                    <a:pt x="105" y="51"/>
                    <a:pt x="117" y="73"/>
                    <a:pt x="125" y="73"/>
                  </a:cubicBezTo>
                  <a:cubicBezTo>
                    <a:pt x="124" y="79"/>
                    <a:pt x="120" y="77"/>
                    <a:pt x="115" y="77"/>
                  </a:cubicBezTo>
                  <a:cubicBezTo>
                    <a:pt x="114" y="77"/>
                    <a:pt x="112" y="78"/>
                    <a:pt x="111" y="78"/>
                  </a:cubicBezTo>
                  <a:cubicBezTo>
                    <a:pt x="109" y="83"/>
                    <a:pt x="109" y="83"/>
                    <a:pt x="109" y="83"/>
                  </a:cubicBezTo>
                  <a:cubicBezTo>
                    <a:pt x="106" y="92"/>
                    <a:pt x="103" y="95"/>
                    <a:pt x="103" y="102"/>
                  </a:cubicBezTo>
                  <a:cubicBezTo>
                    <a:pt x="98" y="103"/>
                    <a:pt x="93" y="110"/>
                    <a:pt x="93" y="113"/>
                  </a:cubicBezTo>
                  <a:cubicBezTo>
                    <a:pt x="93" y="116"/>
                    <a:pt x="95" y="117"/>
                    <a:pt x="95" y="119"/>
                  </a:cubicBezTo>
                  <a:cubicBezTo>
                    <a:pt x="95" y="122"/>
                    <a:pt x="90" y="129"/>
                    <a:pt x="90" y="134"/>
                  </a:cubicBezTo>
                  <a:cubicBezTo>
                    <a:pt x="83" y="135"/>
                    <a:pt x="82" y="141"/>
                    <a:pt x="76" y="141"/>
                  </a:cubicBezTo>
                  <a:cubicBezTo>
                    <a:pt x="72" y="141"/>
                    <a:pt x="71" y="137"/>
                    <a:pt x="71" y="135"/>
                  </a:cubicBezTo>
                  <a:cubicBezTo>
                    <a:pt x="64" y="133"/>
                    <a:pt x="59" y="128"/>
                    <a:pt x="51" y="128"/>
                  </a:cubicBezTo>
                  <a:cubicBezTo>
                    <a:pt x="48" y="128"/>
                    <a:pt x="45" y="132"/>
                    <a:pt x="40" y="132"/>
                  </a:cubicBezTo>
                  <a:cubicBezTo>
                    <a:pt x="39" y="132"/>
                    <a:pt x="38" y="130"/>
                    <a:pt x="37" y="13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1" name="Freeform 106"/>
            <p:cNvSpPr>
              <a:spLocks/>
            </p:cNvSpPr>
            <p:nvPr/>
          </p:nvSpPr>
          <p:spPr bwMode="auto">
            <a:xfrm>
              <a:off x="6367463" y="2847975"/>
              <a:ext cx="106363" cy="123825"/>
            </a:xfrm>
            <a:custGeom>
              <a:avLst/>
              <a:gdLst/>
              <a:ahLst/>
              <a:cxnLst>
                <a:cxn ang="0">
                  <a:pos x="31" y="34"/>
                </a:cxn>
                <a:cxn ang="0">
                  <a:pos x="27" y="38"/>
                </a:cxn>
                <a:cxn ang="0">
                  <a:pos x="17" y="24"/>
                </a:cxn>
                <a:cxn ang="0">
                  <a:pos x="32" y="16"/>
                </a:cxn>
                <a:cxn ang="0">
                  <a:pos x="49" y="15"/>
                </a:cxn>
                <a:cxn ang="0">
                  <a:pos x="64" y="18"/>
                </a:cxn>
                <a:cxn ang="0">
                  <a:pos x="77" y="4"/>
                </a:cxn>
                <a:cxn ang="0">
                  <a:pos x="79" y="0"/>
                </a:cxn>
                <a:cxn ang="0">
                  <a:pos x="77" y="0"/>
                </a:cxn>
                <a:cxn ang="0">
                  <a:pos x="63" y="10"/>
                </a:cxn>
                <a:cxn ang="0">
                  <a:pos x="59" y="10"/>
                </a:cxn>
                <a:cxn ang="0">
                  <a:pos x="28" y="5"/>
                </a:cxn>
                <a:cxn ang="0">
                  <a:pos x="12" y="30"/>
                </a:cxn>
                <a:cxn ang="0">
                  <a:pos x="8" y="37"/>
                </a:cxn>
                <a:cxn ang="0">
                  <a:pos x="0" y="61"/>
                </a:cxn>
                <a:cxn ang="0">
                  <a:pos x="8" y="66"/>
                </a:cxn>
                <a:cxn ang="0">
                  <a:pos x="8" y="87"/>
                </a:cxn>
                <a:cxn ang="0">
                  <a:pos x="16" y="93"/>
                </a:cxn>
                <a:cxn ang="0">
                  <a:pos x="22" y="76"/>
                </a:cxn>
                <a:cxn ang="0">
                  <a:pos x="18" y="61"/>
                </a:cxn>
                <a:cxn ang="0">
                  <a:pos x="25" y="56"/>
                </a:cxn>
                <a:cxn ang="0">
                  <a:pos x="28" y="56"/>
                </a:cxn>
                <a:cxn ang="0">
                  <a:pos x="27" y="65"/>
                </a:cxn>
                <a:cxn ang="0">
                  <a:pos x="34" y="79"/>
                </a:cxn>
                <a:cxn ang="0">
                  <a:pos x="34" y="83"/>
                </a:cxn>
                <a:cxn ang="0">
                  <a:pos x="39" y="83"/>
                </a:cxn>
                <a:cxn ang="0">
                  <a:pos x="49" y="73"/>
                </a:cxn>
                <a:cxn ang="0">
                  <a:pos x="43" y="65"/>
                </a:cxn>
                <a:cxn ang="0">
                  <a:pos x="45" y="63"/>
                </a:cxn>
                <a:cxn ang="0">
                  <a:pos x="34" y="44"/>
                </a:cxn>
                <a:cxn ang="0">
                  <a:pos x="57" y="31"/>
                </a:cxn>
                <a:cxn ang="0">
                  <a:pos x="57" y="28"/>
                </a:cxn>
                <a:cxn ang="0">
                  <a:pos x="31" y="36"/>
                </a:cxn>
                <a:cxn ang="0">
                  <a:pos x="31" y="34"/>
                </a:cxn>
              </a:cxnLst>
              <a:rect l="0" t="0" r="r" b="b"/>
              <a:pathLst>
                <a:path w="79" h="93">
                  <a:moveTo>
                    <a:pt x="31" y="34"/>
                  </a:moveTo>
                  <a:cubicBezTo>
                    <a:pt x="30" y="36"/>
                    <a:pt x="29" y="38"/>
                    <a:pt x="27" y="38"/>
                  </a:cubicBezTo>
                  <a:cubicBezTo>
                    <a:pt x="20" y="38"/>
                    <a:pt x="17" y="30"/>
                    <a:pt x="17" y="24"/>
                  </a:cubicBezTo>
                  <a:cubicBezTo>
                    <a:pt x="17" y="15"/>
                    <a:pt x="24" y="16"/>
                    <a:pt x="32" y="16"/>
                  </a:cubicBezTo>
                  <a:cubicBezTo>
                    <a:pt x="39" y="16"/>
                    <a:pt x="42" y="15"/>
                    <a:pt x="49" y="15"/>
                  </a:cubicBezTo>
                  <a:cubicBezTo>
                    <a:pt x="54" y="15"/>
                    <a:pt x="58" y="18"/>
                    <a:pt x="64" y="18"/>
                  </a:cubicBezTo>
                  <a:cubicBezTo>
                    <a:pt x="73" y="18"/>
                    <a:pt x="76" y="10"/>
                    <a:pt x="77" y="4"/>
                  </a:cubicBezTo>
                  <a:cubicBezTo>
                    <a:pt x="79" y="4"/>
                    <a:pt x="79" y="1"/>
                    <a:pt x="79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2" y="4"/>
                    <a:pt x="65" y="8"/>
                    <a:pt x="63" y="1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17" y="5"/>
                    <a:pt x="12" y="20"/>
                    <a:pt x="12" y="30"/>
                  </a:cubicBezTo>
                  <a:cubicBezTo>
                    <a:pt x="12" y="33"/>
                    <a:pt x="8" y="35"/>
                    <a:pt x="8" y="37"/>
                  </a:cubicBezTo>
                  <a:cubicBezTo>
                    <a:pt x="4" y="47"/>
                    <a:pt x="0" y="51"/>
                    <a:pt x="0" y="61"/>
                  </a:cubicBezTo>
                  <a:cubicBezTo>
                    <a:pt x="0" y="66"/>
                    <a:pt x="6" y="66"/>
                    <a:pt x="8" y="66"/>
                  </a:cubicBezTo>
                  <a:cubicBezTo>
                    <a:pt x="8" y="73"/>
                    <a:pt x="8" y="83"/>
                    <a:pt x="8" y="87"/>
                  </a:cubicBezTo>
                  <a:cubicBezTo>
                    <a:pt x="8" y="90"/>
                    <a:pt x="12" y="93"/>
                    <a:pt x="16" y="93"/>
                  </a:cubicBezTo>
                  <a:cubicBezTo>
                    <a:pt x="20" y="93"/>
                    <a:pt x="22" y="78"/>
                    <a:pt x="22" y="76"/>
                  </a:cubicBezTo>
                  <a:cubicBezTo>
                    <a:pt x="22" y="70"/>
                    <a:pt x="18" y="67"/>
                    <a:pt x="18" y="61"/>
                  </a:cubicBezTo>
                  <a:cubicBezTo>
                    <a:pt x="18" y="58"/>
                    <a:pt x="22" y="56"/>
                    <a:pt x="25" y="56"/>
                  </a:cubicBezTo>
                  <a:cubicBezTo>
                    <a:pt x="26" y="56"/>
                    <a:pt x="27" y="56"/>
                    <a:pt x="28" y="56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71"/>
                    <a:pt x="34" y="73"/>
                    <a:pt x="34" y="79"/>
                  </a:cubicBezTo>
                  <a:cubicBezTo>
                    <a:pt x="34" y="80"/>
                    <a:pt x="34" y="81"/>
                    <a:pt x="34" y="83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9" y="78"/>
                    <a:pt x="49" y="78"/>
                    <a:pt x="49" y="73"/>
                  </a:cubicBezTo>
                  <a:cubicBezTo>
                    <a:pt x="47" y="73"/>
                    <a:pt x="43" y="68"/>
                    <a:pt x="43" y="65"/>
                  </a:cubicBezTo>
                  <a:cubicBezTo>
                    <a:pt x="43" y="65"/>
                    <a:pt x="44" y="64"/>
                    <a:pt x="45" y="63"/>
                  </a:cubicBezTo>
                  <a:cubicBezTo>
                    <a:pt x="42" y="61"/>
                    <a:pt x="34" y="46"/>
                    <a:pt x="34" y="44"/>
                  </a:cubicBezTo>
                  <a:cubicBezTo>
                    <a:pt x="46" y="44"/>
                    <a:pt x="47" y="35"/>
                    <a:pt x="57" y="31"/>
                  </a:cubicBezTo>
                  <a:cubicBezTo>
                    <a:pt x="57" y="28"/>
                    <a:pt x="57" y="28"/>
                    <a:pt x="57" y="28"/>
                  </a:cubicBezTo>
                  <a:cubicBezTo>
                    <a:pt x="54" y="27"/>
                    <a:pt x="31" y="35"/>
                    <a:pt x="31" y="36"/>
                  </a:cubicBezTo>
                  <a:lnTo>
                    <a:pt x="31" y="34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2" name="Freeform 107"/>
            <p:cNvSpPr>
              <a:spLocks/>
            </p:cNvSpPr>
            <p:nvPr/>
          </p:nvSpPr>
          <p:spPr bwMode="auto">
            <a:xfrm>
              <a:off x="6145213" y="2973388"/>
              <a:ext cx="171450" cy="49213"/>
            </a:xfrm>
            <a:custGeom>
              <a:avLst/>
              <a:gdLst/>
              <a:ahLst/>
              <a:cxnLst>
                <a:cxn ang="0">
                  <a:pos x="123" y="36"/>
                </a:cxn>
                <a:cxn ang="0">
                  <a:pos x="114" y="33"/>
                </a:cxn>
                <a:cxn ang="0">
                  <a:pos x="114" y="37"/>
                </a:cxn>
                <a:cxn ang="0">
                  <a:pos x="67" y="31"/>
                </a:cxn>
                <a:cxn ang="0">
                  <a:pos x="56" y="25"/>
                </a:cxn>
                <a:cxn ang="0">
                  <a:pos x="32" y="22"/>
                </a:cxn>
                <a:cxn ang="0">
                  <a:pos x="14" y="20"/>
                </a:cxn>
                <a:cxn ang="0">
                  <a:pos x="0" y="10"/>
                </a:cxn>
                <a:cxn ang="0">
                  <a:pos x="11" y="1"/>
                </a:cxn>
                <a:cxn ang="0">
                  <a:pos x="14" y="3"/>
                </a:cxn>
                <a:cxn ang="0">
                  <a:pos x="22" y="0"/>
                </a:cxn>
                <a:cxn ang="0">
                  <a:pos x="55" y="14"/>
                </a:cxn>
                <a:cxn ang="0">
                  <a:pos x="68" y="7"/>
                </a:cxn>
                <a:cxn ang="0">
                  <a:pos x="88" y="15"/>
                </a:cxn>
                <a:cxn ang="0">
                  <a:pos x="101" y="14"/>
                </a:cxn>
                <a:cxn ang="0">
                  <a:pos x="105" y="14"/>
                </a:cxn>
                <a:cxn ang="0">
                  <a:pos x="89" y="17"/>
                </a:cxn>
                <a:cxn ang="0">
                  <a:pos x="107" y="22"/>
                </a:cxn>
                <a:cxn ang="0">
                  <a:pos x="111" y="26"/>
                </a:cxn>
                <a:cxn ang="0">
                  <a:pos x="121" y="27"/>
                </a:cxn>
                <a:cxn ang="0">
                  <a:pos x="128" y="31"/>
                </a:cxn>
                <a:cxn ang="0">
                  <a:pos x="123" y="36"/>
                </a:cxn>
              </a:cxnLst>
              <a:rect l="0" t="0" r="r" b="b"/>
              <a:pathLst>
                <a:path w="128" h="37">
                  <a:moveTo>
                    <a:pt x="123" y="36"/>
                  </a:moveTo>
                  <a:cubicBezTo>
                    <a:pt x="119" y="36"/>
                    <a:pt x="119" y="33"/>
                    <a:pt x="114" y="33"/>
                  </a:cubicBezTo>
                  <a:cubicBezTo>
                    <a:pt x="113" y="33"/>
                    <a:pt x="114" y="36"/>
                    <a:pt x="114" y="37"/>
                  </a:cubicBezTo>
                  <a:cubicBezTo>
                    <a:pt x="100" y="32"/>
                    <a:pt x="85" y="31"/>
                    <a:pt x="67" y="31"/>
                  </a:cubicBezTo>
                  <a:cubicBezTo>
                    <a:pt x="62" y="31"/>
                    <a:pt x="61" y="25"/>
                    <a:pt x="56" y="25"/>
                  </a:cubicBezTo>
                  <a:cubicBezTo>
                    <a:pt x="48" y="25"/>
                    <a:pt x="41" y="25"/>
                    <a:pt x="32" y="22"/>
                  </a:cubicBezTo>
                  <a:cubicBezTo>
                    <a:pt x="25" y="20"/>
                    <a:pt x="19" y="24"/>
                    <a:pt x="14" y="20"/>
                  </a:cubicBezTo>
                  <a:cubicBezTo>
                    <a:pt x="10" y="15"/>
                    <a:pt x="7" y="10"/>
                    <a:pt x="0" y="10"/>
                  </a:cubicBezTo>
                  <a:cubicBezTo>
                    <a:pt x="0" y="9"/>
                    <a:pt x="8" y="1"/>
                    <a:pt x="11" y="1"/>
                  </a:cubicBezTo>
                  <a:cubicBezTo>
                    <a:pt x="12" y="1"/>
                    <a:pt x="13" y="3"/>
                    <a:pt x="14" y="3"/>
                  </a:cubicBezTo>
                  <a:cubicBezTo>
                    <a:pt x="17" y="3"/>
                    <a:pt x="19" y="0"/>
                    <a:pt x="22" y="0"/>
                  </a:cubicBezTo>
                  <a:cubicBezTo>
                    <a:pt x="35" y="0"/>
                    <a:pt x="41" y="14"/>
                    <a:pt x="55" y="14"/>
                  </a:cubicBezTo>
                  <a:cubicBezTo>
                    <a:pt x="62" y="14"/>
                    <a:pt x="63" y="7"/>
                    <a:pt x="68" y="7"/>
                  </a:cubicBezTo>
                  <a:cubicBezTo>
                    <a:pt x="77" y="7"/>
                    <a:pt x="80" y="15"/>
                    <a:pt x="88" y="15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5" y="14"/>
                    <a:pt x="105" y="14"/>
                    <a:pt x="105" y="14"/>
                  </a:cubicBezTo>
                  <a:cubicBezTo>
                    <a:pt x="104" y="16"/>
                    <a:pt x="89" y="17"/>
                    <a:pt x="89" y="17"/>
                  </a:cubicBezTo>
                  <a:cubicBezTo>
                    <a:pt x="93" y="22"/>
                    <a:pt x="99" y="22"/>
                    <a:pt x="107" y="22"/>
                  </a:cubicBezTo>
                  <a:cubicBezTo>
                    <a:pt x="110" y="22"/>
                    <a:pt x="110" y="26"/>
                    <a:pt x="111" y="26"/>
                  </a:cubicBezTo>
                  <a:cubicBezTo>
                    <a:pt x="114" y="30"/>
                    <a:pt x="117" y="26"/>
                    <a:pt x="121" y="27"/>
                  </a:cubicBezTo>
                  <a:cubicBezTo>
                    <a:pt x="125" y="29"/>
                    <a:pt x="125" y="30"/>
                    <a:pt x="128" y="31"/>
                  </a:cubicBezTo>
                  <a:cubicBezTo>
                    <a:pt x="127" y="33"/>
                    <a:pt x="124" y="36"/>
                    <a:pt x="123" y="36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3" name="Freeform 108"/>
            <p:cNvSpPr>
              <a:spLocks/>
            </p:cNvSpPr>
            <p:nvPr/>
          </p:nvSpPr>
          <p:spPr bwMode="auto">
            <a:xfrm>
              <a:off x="6386513" y="3013075"/>
              <a:ext cx="52388" cy="12700"/>
            </a:xfrm>
            <a:custGeom>
              <a:avLst/>
              <a:gdLst/>
              <a:ahLst/>
              <a:cxnLst>
                <a:cxn ang="0">
                  <a:pos x="26" y="9"/>
                </a:cxn>
                <a:cxn ang="0">
                  <a:pos x="10" y="9"/>
                </a:cxn>
                <a:cxn ang="0">
                  <a:pos x="0" y="4"/>
                </a:cxn>
                <a:cxn ang="0">
                  <a:pos x="8" y="1"/>
                </a:cxn>
                <a:cxn ang="0">
                  <a:pos x="26" y="4"/>
                </a:cxn>
                <a:cxn ang="0">
                  <a:pos x="39" y="0"/>
                </a:cxn>
                <a:cxn ang="0">
                  <a:pos x="26" y="9"/>
                </a:cxn>
              </a:cxnLst>
              <a:rect l="0" t="0" r="r" b="b"/>
              <a:pathLst>
                <a:path w="39" h="9">
                  <a:moveTo>
                    <a:pt x="26" y="9"/>
                  </a:moveTo>
                  <a:cubicBezTo>
                    <a:pt x="20" y="9"/>
                    <a:pt x="13" y="9"/>
                    <a:pt x="10" y="9"/>
                  </a:cubicBezTo>
                  <a:cubicBezTo>
                    <a:pt x="7" y="9"/>
                    <a:pt x="0" y="9"/>
                    <a:pt x="0" y="4"/>
                  </a:cubicBezTo>
                  <a:cubicBezTo>
                    <a:pt x="0" y="1"/>
                    <a:pt x="5" y="1"/>
                    <a:pt x="8" y="1"/>
                  </a:cubicBezTo>
                  <a:cubicBezTo>
                    <a:pt x="16" y="1"/>
                    <a:pt x="19" y="4"/>
                    <a:pt x="26" y="4"/>
                  </a:cubicBezTo>
                  <a:cubicBezTo>
                    <a:pt x="32" y="4"/>
                    <a:pt x="35" y="2"/>
                    <a:pt x="39" y="0"/>
                  </a:cubicBezTo>
                  <a:cubicBezTo>
                    <a:pt x="35" y="6"/>
                    <a:pt x="32" y="7"/>
                    <a:pt x="26" y="9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4" name="Freeform 109"/>
            <p:cNvSpPr>
              <a:spLocks/>
            </p:cNvSpPr>
            <p:nvPr/>
          </p:nvSpPr>
          <p:spPr bwMode="auto">
            <a:xfrm>
              <a:off x="6335713" y="3016250"/>
              <a:ext cx="36513" cy="12700"/>
            </a:xfrm>
            <a:custGeom>
              <a:avLst/>
              <a:gdLst/>
              <a:ahLst/>
              <a:cxnLst>
                <a:cxn ang="0">
                  <a:pos x="27" y="6"/>
                </a:cxn>
                <a:cxn ang="0">
                  <a:pos x="23" y="6"/>
                </a:cxn>
                <a:cxn ang="0">
                  <a:pos x="19" y="5"/>
                </a:cxn>
                <a:cxn ang="0">
                  <a:pos x="9" y="9"/>
                </a:cxn>
                <a:cxn ang="0">
                  <a:pos x="0" y="6"/>
                </a:cxn>
                <a:cxn ang="0">
                  <a:pos x="7" y="1"/>
                </a:cxn>
                <a:cxn ang="0">
                  <a:pos x="16" y="3"/>
                </a:cxn>
                <a:cxn ang="0">
                  <a:pos x="16" y="0"/>
                </a:cxn>
                <a:cxn ang="0">
                  <a:pos x="27" y="0"/>
                </a:cxn>
                <a:cxn ang="0">
                  <a:pos x="27" y="6"/>
                </a:cxn>
              </a:cxnLst>
              <a:rect l="0" t="0" r="r" b="b"/>
              <a:pathLst>
                <a:path w="27" h="9">
                  <a:moveTo>
                    <a:pt x="27" y="6"/>
                  </a:moveTo>
                  <a:cubicBezTo>
                    <a:pt x="23" y="6"/>
                    <a:pt x="23" y="6"/>
                    <a:pt x="23" y="6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5" y="6"/>
                    <a:pt x="13" y="9"/>
                    <a:pt x="9" y="9"/>
                  </a:cubicBezTo>
                  <a:cubicBezTo>
                    <a:pt x="5" y="9"/>
                    <a:pt x="0" y="8"/>
                    <a:pt x="0" y="6"/>
                  </a:cubicBezTo>
                  <a:cubicBezTo>
                    <a:pt x="0" y="1"/>
                    <a:pt x="3" y="1"/>
                    <a:pt x="7" y="1"/>
                  </a:cubicBezTo>
                  <a:cubicBezTo>
                    <a:pt x="11" y="1"/>
                    <a:pt x="13" y="2"/>
                    <a:pt x="16" y="3"/>
                  </a:cubicBezTo>
                  <a:cubicBezTo>
                    <a:pt x="16" y="2"/>
                    <a:pt x="16" y="1"/>
                    <a:pt x="16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3"/>
                    <a:pt x="26" y="5"/>
                    <a:pt x="27" y="6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5" name="Freeform 110"/>
            <p:cNvSpPr>
              <a:spLocks/>
            </p:cNvSpPr>
            <p:nvPr/>
          </p:nvSpPr>
          <p:spPr bwMode="auto">
            <a:xfrm>
              <a:off x="6373813" y="3030538"/>
              <a:ext cx="26988" cy="19050"/>
            </a:xfrm>
            <a:custGeom>
              <a:avLst/>
              <a:gdLst/>
              <a:ahLst/>
              <a:cxnLst>
                <a:cxn ang="0">
                  <a:pos x="15" y="14"/>
                </a:cxn>
                <a:cxn ang="0">
                  <a:pos x="12" y="9"/>
                </a:cxn>
                <a:cxn ang="0">
                  <a:pos x="0" y="4"/>
                </a:cxn>
                <a:cxn ang="0">
                  <a:pos x="9" y="1"/>
                </a:cxn>
                <a:cxn ang="0">
                  <a:pos x="13" y="1"/>
                </a:cxn>
                <a:cxn ang="0">
                  <a:pos x="20" y="11"/>
                </a:cxn>
                <a:cxn ang="0">
                  <a:pos x="16" y="14"/>
                </a:cxn>
                <a:cxn ang="0">
                  <a:pos x="15" y="14"/>
                </a:cxn>
              </a:cxnLst>
              <a:rect l="0" t="0" r="r" b="b"/>
              <a:pathLst>
                <a:path w="20" h="14">
                  <a:moveTo>
                    <a:pt x="15" y="14"/>
                  </a:moveTo>
                  <a:cubicBezTo>
                    <a:pt x="12" y="14"/>
                    <a:pt x="12" y="10"/>
                    <a:pt x="12" y="9"/>
                  </a:cubicBezTo>
                  <a:cubicBezTo>
                    <a:pt x="8" y="9"/>
                    <a:pt x="0" y="8"/>
                    <a:pt x="0" y="4"/>
                  </a:cubicBezTo>
                  <a:cubicBezTo>
                    <a:pt x="0" y="0"/>
                    <a:pt x="6" y="1"/>
                    <a:pt x="9" y="1"/>
                  </a:cubicBezTo>
                  <a:cubicBezTo>
                    <a:pt x="10" y="1"/>
                    <a:pt x="12" y="1"/>
                    <a:pt x="13" y="1"/>
                  </a:cubicBezTo>
                  <a:cubicBezTo>
                    <a:pt x="13" y="7"/>
                    <a:pt x="20" y="6"/>
                    <a:pt x="20" y="11"/>
                  </a:cubicBezTo>
                  <a:cubicBezTo>
                    <a:pt x="20" y="13"/>
                    <a:pt x="18" y="14"/>
                    <a:pt x="16" y="14"/>
                  </a:cubicBezTo>
                  <a:cubicBezTo>
                    <a:pt x="16" y="14"/>
                    <a:pt x="15" y="14"/>
                    <a:pt x="15" y="14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6" name="Freeform 111"/>
            <p:cNvSpPr>
              <a:spLocks/>
            </p:cNvSpPr>
            <p:nvPr/>
          </p:nvSpPr>
          <p:spPr bwMode="auto">
            <a:xfrm>
              <a:off x="6323013" y="3014663"/>
              <a:ext cx="11113" cy="111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8" y="3"/>
                </a:cxn>
                <a:cxn ang="0">
                  <a:pos x="3" y="8"/>
                </a:cxn>
                <a:cxn ang="0">
                  <a:pos x="0" y="5"/>
                </a:cxn>
                <a:cxn ang="0">
                  <a:pos x="0" y="0"/>
                </a:cxn>
              </a:cxnLst>
              <a:rect l="0" t="0" r="r" b="b"/>
              <a:pathLst>
                <a:path w="8" h="8">
                  <a:moveTo>
                    <a:pt x="0" y="0"/>
                  </a:moveTo>
                  <a:cubicBezTo>
                    <a:pt x="1" y="0"/>
                    <a:pt x="2" y="0"/>
                    <a:pt x="4" y="0"/>
                  </a:cubicBezTo>
                  <a:cubicBezTo>
                    <a:pt x="6" y="0"/>
                    <a:pt x="6" y="2"/>
                    <a:pt x="8" y="3"/>
                  </a:cubicBezTo>
                  <a:cubicBezTo>
                    <a:pt x="7" y="6"/>
                    <a:pt x="5" y="8"/>
                    <a:pt x="3" y="8"/>
                  </a:cubicBezTo>
                  <a:cubicBezTo>
                    <a:pt x="2" y="8"/>
                    <a:pt x="0" y="6"/>
                    <a:pt x="0" y="5"/>
                  </a:cubicBezTo>
                  <a:cubicBezTo>
                    <a:pt x="0" y="3"/>
                    <a:pt x="0" y="2"/>
                    <a:pt x="0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7" name="Freeform 112"/>
            <p:cNvSpPr>
              <a:spLocks/>
            </p:cNvSpPr>
            <p:nvPr/>
          </p:nvSpPr>
          <p:spPr bwMode="auto">
            <a:xfrm>
              <a:off x="6448425" y="3016250"/>
              <a:ext cx="58738" cy="34925"/>
            </a:xfrm>
            <a:custGeom>
              <a:avLst/>
              <a:gdLst/>
              <a:ahLst/>
              <a:cxnLst>
                <a:cxn ang="0">
                  <a:pos x="19" y="13"/>
                </a:cxn>
                <a:cxn ang="0">
                  <a:pos x="17" y="19"/>
                </a:cxn>
                <a:cxn ang="0">
                  <a:pos x="3" y="26"/>
                </a:cxn>
                <a:cxn ang="0">
                  <a:pos x="0" y="22"/>
                </a:cxn>
                <a:cxn ang="0">
                  <a:pos x="15" y="10"/>
                </a:cxn>
                <a:cxn ang="0">
                  <a:pos x="17" y="6"/>
                </a:cxn>
                <a:cxn ang="0">
                  <a:pos x="45" y="3"/>
                </a:cxn>
                <a:cxn ang="0">
                  <a:pos x="19" y="13"/>
                </a:cxn>
              </a:cxnLst>
              <a:rect l="0" t="0" r="r" b="b"/>
              <a:pathLst>
                <a:path w="45" h="26">
                  <a:moveTo>
                    <a:pt x="19" y="13"/>
                  </a:moveTo>
                  <a:cubicBezTo>
                    <a:pt x="16" y="13"/>
                    <a:pt x="19" y="17"/>
                    <a:pt x="17" y="19"/>
                  </a:cubicBezTo>
                  <a:cubicBezTo>
                    <a:pt x="15" y="21"/>
                    <a:pt x="8" y="26"/>
                    <a:pt x="3" y="26"/>
                  </a:cubicBezTo>
                  <a:cubicBezTo>
                    <a:pt x="1" y="26"/>
                    <a:pt x="0" y="24"/>
                    <a:pt x="0" y="22"/>
                  </a:cubicBezTo>
                  <a:cubicBezTo>
                    <a:pt x="0" y="12"/>
                    <a:pt x="8" y="12"/>
                    <a:pt x="15" y="10"/>
                  </a:cubicBezTo>
                  <a:cubicBezTo>
                    <a:pt x="16" y="10"/>
                    <a:pt x="16" y="7"/>
                    <a:pt x="17" y="6"/>
                  </a:cubicBezTo>
                  <a:cubicBezTo>
                    <a:pt x="21" y="2"/>
                    <a:pt x="41" y="0"/>
                    <a:pt x="45" y="3"/>
                  </a:cubicBezTo>
                  <a:cubicBezTo>
                    <a:pt x="40" y="9"/>
                    <a:pt x="26" y="13"/>
                    <a:pt x="19" y="13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8" name="Freeform 113"/>
            <p:cNvSpPr>
              <a:spLocks/>
            </p:cNvSpPr>
            <p:nvPr/>
          </p:nvSpPr>
          <p:spPr bwMode="auto">
            <a:xfrm>
              <a:off x="6489700" y="2922588"/>
              <a:ext cx="17463" cy="19050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8" y="14"/>
                </a:cxn>
                <a:cxn ang="0">
                  <a:pos x="0" y="5"/>
                </a:cxn>
                <a:cxn ang="0">
                  <a:pos x="13" y="8"/>
                </a:cxn>
              </a:cxnLst>
              <a:rect l="0" t="0" r="r" b="b"/>
              <a:pathLst>
                <a:path w="13" h="14">
                  <a:moveTo>
                    <a:pt x="13" y="8"/>
                  </a:moveTo>
                  <a:cubicBezTo>
                    <a:pt x="13" y="9"/>
                    <a:pt x="10" y="14"/>
                    <a:pt x="8" y="14"/>
                  </a:cubicBezTo>
                  <a:cubicBezTo>
                    <a:pt x="6" y="14"/>
                    <a:pt x="0" y="9"/>
                    <a:pt x="0" y="5"/>
                  </a:cubicBezTo>
                  <a:cubicBezTo>
                    <a:pt x="0" y="0"/>
                    <a:pt x="13" y="4"/>
                    <a:pt x="13" y="8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9" name="Freeform 114"/>
            <p:cNvSpPr>
              <a:spLocks/>
            </p:cNvSpPr>
            <p:nvPr/>
          </p:nvSpPr>
          <p:spPr bwMode="auto">
            <a:xfrm>
              <a:off x="6519863" y="2924175"/>
              <a:ext cx="47625" cy="14288"/>
            </a:xfrm>
            <a:custGeom>
              <a:avLst/>
              <a:gdLst/>
              <a:ahLst/>
              <a:cxnLst>
                <a:cxn ang="0">
                  <a:pos x="31" y="2"/>
                </a:cxn>
                <a:cxn ang="0">
                  <a:pos x="36" y="10"/>
                </a:cxn>
                <a:cxn ang="0">
                  <a:pos x="34" y="10"/>
                </a:cxn>
                <a:cxn ang="0">
                  <a:pos x="18" y="6"/>
                </a:cxn>
                <a:cxn ang="0">
                  <a:pos x="8" y="6"/>
                </a:cxn>
                <a:cxn ang="0">
                  <a:pos x="0" y="4"/>
                </a:cxn>
                <a:cxn ang="0">
                  <a:pos x="3" y="0"/>
                </a:cxn>
                <a:cxn ang="0">
                  <a:pos x="23" y="0"/>
                </a:cxn>
                <a:cxn ang="0">
                  <a:pos x="30" y="2"/>
                </a:cxn>
                <a:cxn ang="0">
                  <a:pos x="31" y="2"/>
                </a:cxn>
              </a:cxnLst>
              <a:rect l="0" t="0" r="r" b="b"/>
              <a:pathLst>
                <a:path w="36" h="10">
                  <a:moveTo>
                    <a:pt x="31" y="2"/>
                  </a:moveTo>
                  <a:cubicBezTo>
                    <a:pt x="32" y="5"/>
                    <a:pt x="36" y="6"/>
                    <a:pt x="36" y="10"/>
                  </a:cubicBezTo>
                  <a:cubicBezTo>
                    <a:pt x="36" y="10"/>
                    <a:pt x="35" y="10"/>
                    <a:pt x="34" y="10"/>
                  </a:cubicBezTo>
                  <a:cubicBezTo>
                    <a:pt x="28" y="10"/>
                    <a:pt x="25" y="6"/>
                    <a:pt x="18" y="6"/>
                  </a:cubicBezTo>
                  <a:cubicBezTo>
                    <a:pt x="14" y="6"/>
                    <a:pt x="12" y="6"/>
                    <a:pt x="8" y="6"/>
                  </a:cubicBezTo>
                  <a:cubicBezTo>
                    <a:pt x="6" y="6"/>
                    <a:pt x="0" y="4"/>
                    <a:pt x="0" y="4"/>
                  </a:cubicBezTo>
                  <a:cubicBezTo>
                    <a:pt x="0" y="2"/>
                    <a:pt x="3" y="1"/>
                    <a:pt x="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3"/>
                    <a:pt x="27" y="2"/>
                    <a:pt x="30" y="2"/>
                  </a:cubicBezTo>
                  <a:lnTo>
                    <a:pt x="31" y="2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0" name="Freeform 115"/>
            <p:cNvSpPr>
              <a:spLocks/>
            </p:cNvSpPr>
            <p:nvPr/>
          </p:nvSpPr>
          <p:spPr bwMode="auto">
            <a:xfrm>
              <a:off x="6513513" y="2836863"/>
              <a:ext cx="19050" cy="46038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4" y="25"/>
                </a:cxn>
                <a:cxn ang="0">
                  <a:pos x="14" y="24"/>
                </a:cxn>
                <a:cxn ang="0">
                  <a:pos x="11" y="17"/>
                </a:cxn>
                <a:cxn ang="0">
                  <a:pos x="15" y="12"/>
                </a:cxn>
                <a:cxn ang="0">
                  <a:pos x="4" y="0"/>
                </a:cxn>
                <a:cxn ang="0">
                  <a:pos x="0" y="9"/>
                </a:cxn>
                <a:cxn ang="0">
                  <a:pos x="3" y="21"/>
                </a:cxn>
                <a:cxn ang="0">
                  <a:pos x="3" y="27"/>
                </a:cxn>
                <a:cxn ang="0">
                  <a:pos x="9" y="35"/>
                </a:cxn>
                <a:cxn ang="0">
                  <a:pos x="4" y="28"/>
                </a:cxn>
              </a:cxnLst>
              <a:rect l="0" t="0" r="r" b="b"/>
              <a:pathLst>
                <a:path w="15" h="35">
                  <a:moveTo>
                    <a:pt x="4" y="28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8" y="25"/>
                    <a:pt x="12" y="24"/>
                    <a:pt x="14" y="24"/>
                  </a:cubicBezTo>
                  <a:cubicBezTo>
                    <a:pt x="14" y="20"/>
                    <a:pt x="11" y="20"/>
                    <a:pt x="11" y="17"/>
                  </a:cubicBezTo>
                  <a:cubicBezTo>
                    <a:pt x="11" y="15"/>
                    <a:pt x="15" y="14"/>
                    <a:pt x="15" y="12"/>
                  </a:cubicBezTo>
                  <a:cubicBezTo>
                    <a:pt x="8" y="10"/>
                    <a:pt x="4" y="6"/>
                    <a:pt x="4" y="0"/>
                  </a:cubicBezTo>
                  <a:cubicBezTo>
                    <a:pt x="0" y="2"/>
                    <a:pt x="0" y="5"/>
                    <a:pt x="0" y="9"/>
                  </a:cubicBezTo>
                  <a:cubicBezTo>
                    <a:pt x="0" y="15"/>
                    <a:pt x="3" y="16"/>
                    <a:pt x="3" y="21"/>
                  </a:cubicBezTo>
                  <a:cubicBezTo>
                    <a:pt x="3" y="26"/>
                    <a:pt x="3" y="24"/>
                    <a:pt x="3" y="27"/>
                  </a:cubicBezTo>
                  <a:cubicBezTo>
                    <a:pt x="3" y="30"/>
                    <a:pt x="4" y="35"/>
                    <a:pt x="9" y="35"/>
                  </a:cubicBezTo>
                  <a:cubicBezTo>
                    <a:pt x="7" y="32"/>
                    <a:pt x="6" y="31"/>
                    <a:pt x="4" y="28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1" name="Freeform 119"/>
            <p:cNvSpPr>
              <a:spLocks/>
            </p:cNvSpPr>
            <p:nvPr/>
          </p:nvSpPr>
          <p:spPr bwMode="auto">
            <a:xfrm>
              <a:off x="6424613" y="2709863"/>
              <a:ext cx="76200" cy="71438"/>
            </a:xfrm>
            <a:custGeom>
              <a:avLst/>
              <a:gdLst/>
              <a:ahLst/>
              <a:cxnLst>
                <a:cxn ang="0">
                  <a:pos x="48" y="38"/>
                </a:cxn>
                <a:cxn ang="0">
                  <a:pos x="46" y="35"/>
                </a:cxn>
                <a:cxn ang="0">
                  <a:pos x="42" y="40"/>
                </a:cxn>
                <a:cxn ang="0">
                  <a:pos x="47" y="48"/>
                </a:cxn>
                <a:cxn ang="0">
                  <a:pos x="42" y="53"/>
                </a:cxn>
                <a:cxn ang="0">
                  <a:pos x="40" y="50"/>
                </a:cxn>
                <a:cxn ang="0">
                  <a:pos x="36" y="51"/>
                </a:cxn>
                <a:cxn ang="0">
                  <a:pos x="26" y="37"/>
                </a:cxn>
                <a:cxn ang="0">
                  <a:pos x="28" y="32"/>
                </a:cxn>
                <a:cxn ang="0">
                  <a:pos x="27" y="29"/>
                </a:cxn>
                <a:cxn ang="0">
                  <a:pos x="21" y="28"/>
                </a:cxn>
                <a:cxn ang="0">
                  <a:pos x="21" y="32"/>
                </a:cxn>
                <a:cxn ang="0">
                  <a:pos x="17" y="30"/>
                </a:cxn>
                <a:cxn ang="0">
                  <a:pos x="16" y="32"/>
                </a:cxn>
                <a:cxn ang="0">
                  <a:pos x="12" y="28"/>
                </a:cxn>
                <a:cxn ang="0">
                  <a:pos x="4" y="45"/>
                </a:cxn>
                <a:cxn ang="0">
                  <a:pos x="4" y="36"/>
                </a:cxn>
                <a:cxn ang="0">
                  <a:pos x="2" y="32"/>
                </a:cxn>
                <a:cxn ang="0">
                  <a:pos x="5" y="22"/>
                </a:cxn>
                <a:cxn ang="0">
                  <a:pos x="19" y="14"/>
                </a:cxn>
                <a:cxn ang="0">
                  <a:pos x="26" y="20"/>
                </a:cxn>
                <a:cxn ang="0">
                  <a:pos x="28" y="20"/>
                </a:cxn>
                <a:cxn ang="0">
                  <a:pos x="32" y="15"/>
                </a:cxn>
                <a:cxn ang="0">
                  <a:pos x="41" y="9"/>
                </a:cxn>
                <a:cxn ang="0">
                  <a:pos x="42" y="0"/>
                </a:cxn>
                <a:cxn ang="0">
                  <a:pos x="48" y="4"/>
                </a:cxn>
                <a:cxn ang="0">
                  <a:pos x="58" y="33"/>
                </a:cxn>
                <a:cxn ang="0">
                  <a:pos x="53" y="46"/>
                </a:cxn>
                <a:cxn ang="0">
                  <a:pos x="48" y="36"/>
                </a:cxn>
                <a:cxn ang="0">
                  <a:pos x="48" y="38"/>
                </a:cxn>
              </a:cxnLst>
              <a:rect l="0" t="0" r="r" b="b"/>
              <a:pathLst>
                <a:path w="58" h="53">
                  <a:moveTo>
                    <a:pt x="48" y="38"/>
                  </a:moveTo>
                  <a:cubicBezTo>
                    <a:pt x="48" y="37"/>
                    <a:pt x="47" y="36"/>
                    <a:pt x="46" y="35"/>
                  </a:cubicBezTo>
                  <a:cubicBezTo>
                    <a:pt x="44" y="37"/>
                    <a:pt x="42" y="38"/>
                    <a:pt x="42" y="40"/>
                  </a:cubicBezTo>
                  <a:cubicBezTo>
                    <a:pt x="42" y="43"/>
                    <a:pt x="47" y="44"/>
                    <a:pt x="47" y="48"/>
                  </a:cubicBezTo>
                  <a:cubicBezTo>
                    <a:pt x="47" y="51"/>
                    <a:pt x="45" y="53"/>
                    <a:pt x="42" y="53"/>
                  </a:cubicBezTo>
                  <a:cubicBezTo>
                    <a:pt x="41" y="53"/>
                    <a:pt x="40" y="51"/>
                    <a:pt x="40" y="50"/>
                  </a:cubicBezTo>
                  <a:cubicBezTo>
                    <a:pt x="39" y="51"/>
                    <a:pt x="37" y="51"/>
                    <a:pt x="36" y="51"/>
                  </a:cubicBezTo>
                  <a:cubicBezTo>
                    <a:pt x="31" y="51"/>
                    <a:pt x="26" y="44"/>
                    <a:pt x="26" y="37"/>
                  </a:cubicBezTo>
                  <a:cubicBezTo>
                    <a:pt x="26" y="34"/>
                    <a:pt x="27" y="33"/>
                    <a:pt x="28" y="32"/>
                  </a:cubicBezTo>
                  <a:cubicBezTo>
                    <a:pt x="28" y="31"/>
                    <a:pt x="27" y="30"/>
                    <a:pt x="27" y="29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30"/>
                    <a:pt x="20" y="31"/>
                    <a:pt x="21" y="32"/>
                  </a:cubicBezTo>
                  <a:cubicBezTo>
                    <a:pt x="18" y="32"/>
                    <a:pt x="18" y="31"/>
                    <a:pt x="17" y="30"/>
                  </a:cubicBezTo>
                  <a:cubicBezTo>
                    <a:pt x="17" y="30"/>
                    <a:pt x="16" y="31"/>
                    <a:pt x="16" y="32"/>
                  </a:cubicBezTo>
                  <a:cubicBezTo>
                    <a:pt x="14" y="31"/>
                    <a:pt x="12" y="28"/>
                    <a:pt x="12" y="28"/>
                  </a:cubicBezTo>
                  <a:cubicBezTo>
                    <a:pt x="8" y="32"/>
                    <a:pt x="8" y="45"/>
                    <a:pt x="4" y="45"/>
                  </a:cubicBezTo>
                  <a:cubicBezTo>
                    <a:pt x="0" y="45"/>
                    <a:pt x="4" y="37"/>
                    <a:pt x="4" y="36"/>
                  </a:cubicBezTo>
                  <a:cubicBezTo>
                    <a:pt x="4" y="35"/>
                    <a:pt x="2" y="33"/>
                    <a:pt x="2" y="32"/>
                  </a:cubicBezTo>
                  <a:cubicBezTo>
                    <a:pt x="2" y="28"/>
                    <a:pt x="4" y="26"/>
                    <a:pt x="5" y="22"/>
                  </a:cubicBezTo>
                  <a:cubicBezTo>
                    <a:pt x="13" y="22"/>
                    <a:pt x="11" y="14"/>
                    <a:pt x="19" y="14"/>
                  </a:cubicBezTo>
                  <a:cubicBezTo>
                    <a:pt x="24" y="14"/>
                    <a:pt x="23" y="20"/>
                    <a:pt x="26" y="20"/>
                  </a:cubicBezTo>
                  <a:cubicBezTo>
                    <a:pt x="27" y="20"/>
                    <a:pt x="27" y="20"/>
                    <a:pt x="28" y="20"/>
                  </a:cubicBezTo>
                  <a:cubicBezTo>
                    <a:pt x="28" y="18"/>
                    <a:pt x="30" y="16"/>
                    <a:pt x="32" y="15"/>
                  </a:cubicBezTo>
                  <a:cubicBezTo>
                    <a:pt x="32" y="10"/>
                    <a:pt x="39" y="12"/>
                    <a:pt x="41" y="9"/>
                  </a:cubicBezTo>
                  <a:cubicBezTo>
                    <a:pt x="42" y="7"/>
                    <a:pt x="42" y="1"/>
                    <a:pt x="42" y="0"/>
                  </a:cubicBezTo>
                  <a:cubicBezTo>
                    <a:pt x="45" y="0"/>
                    <a:pt x="47" y="2"/>
                    <a:pt x="48" y="4"/>
                  </a:cubicBezTo>
                  <a:cubicBezTo>
                    <a:pt x="51" y="7"/>
                    <a:pt x="58" y="30"/>
                    <a:pt x="58" y="33"/>
                  </a:cubicBezTo>
                  <a:cubicBezTo>
                    <a:pt x="58" y="37"/>
                    <a:pt x="53" y="39"/>
                    <a:pt x="53" y="46"/>
                  </a:cubicBezTo>
                  <a:cubicBezTo>
                    <a:pt x="51" y="46"/>
                    <a:pt x="48" y="37"/>
                    <a:pt x="48" y="36"/>
                  </a:cubicBezTo>
                  <a:lnTo>
                    <a:pt x="48" y="38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2" name="Freeform 120"/>
            <p:cNvSpPr>
              <a:spLocks/>
            </p:cNvSpPr>
            <p:nvPr/>
          </p:nvSpPr>
          <p:spPr bwMode="auto">
            <a:xfrm>
              <a:off x="6354763" y="2690813"/>
              <a:ext cx="36513" cy="39688"/>
            </a:xfrm>
            <a:custGeom>
              <a:avLst/>
              <a:gdLst/>
              <a:ahLst/>
              <a:cxnLst>
                <a:cxn ang="0">
                  <a:pos x="3" y="29"/>
                </a:cxn>
                <a:cxn ang="0">
                  <a:pos x="0" y="29"/>
                </a:cxn>
                <a:cxn ang="0">
                  <a:pos x="22" y="5"/>
                </a:cxn>
                <a:cxn ang="0">
                  <a:pos x="25" y="0"/>
                </a:cxn>
                <a:cxn ang="0">
                  <a:pos x="28" y="6"/>
                </a:cxn>
                <a:cxn ang="0">
                  <a:pos x="24" y="9"/>
                </a:cxn>
                <a:cxn ang="0">
                  <a:pos x="17" y="13"/>
                </a:cxn>
                <a:cxn ang="0">
                  <a:pos x="3" y="29"/>
                </a:cxn>
              </a:cxnLst>
              <a:rect l="0" t="0" r="r" b="b"/>
              <a:pathLst>
                <a:path w="28" h="29">
                  <a:moveTo>
                    <a:pt x="3" y="2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4" y="18"/>
                    <a:pt x="18" y="13"/>
                    <a:pt x="22" y="5"/>
                  </a:cubicBezTo>
                  <a:cubicBezTo>
                    <a:pt x="23" y="3"/>
                    <a:pt x="23" y="1"/>
                    <a:pt x="25" y="0"/>
                  </a:cubicBezTo>
                  <a:cubicBezTo>
                    <a:pt x="24" y="4"/>
                    <a:pt x="26" y="5"/>
                    <a:pt x="28" y="6"/>
                  </a:cubicBezTo>
                  <a:cubicBezTo>
                    <a:pt x="26" y="8"/>
                    <a:pt x="26" y="9"/>
                    <a:pt x="24" y="9"/>
                  </a:cubicBezTo>
                  <a:cubicBezTo>
                    <a:pt x="23" y="12"/>
                    <a:pt x="20" y="13"/>
                    <a:pt x="17" y="13"/>
                  </a:cubicBezTo>
                  <a:cubicBezTo>
                    <a:pt x="15" y="22"/>
                    <a:pt x="8" y="26"/>
                    <a:pt x="3" y="29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3" name="Freeform 121"/>
            <p:cNvSpPr>
              <a:spLocks/>
            </p:cNvSpPr>
            <p:nvPr/>
          </p:nvSpPr>
          <p:spPr bwMode="auto">
            <a:xfrm>
              <a:off x="6383338" y="2563813"/>
              <a:ext cx="71438" cy="101600"/>
            </a:xfrm>
            <a:custGeom>
              <a:avLst/>
              <a:gdLst/>
              <a:ahLst/>
              <a:cxnLst>
                <a:cxn ang="0">
                  <a:pos x="4" y="31"/>
                </a:cxn>
                <a:cxn ang="0">
                  <a:pos x="6" y="20"/>
                </a:cxn>
                <a:cxn ang="0">
                  <a:pos x="5" y="7"/>
                </a:cxn>
                <a:cxn ang="0">
                  <a:pos x="9" y="0"/>
                </a:cxn>
                <a:cxn ang="0">
                  <a:pos x="16" y="7"/>
                </a:cxn>
                <a:cxn ang="0">
                  <a:pos x="21" y="3"/>
                </a:cxn>
                <a:cxn ang="0">
                  <a:pos x="22" y="5"/>
                </a:cxn>
                <a:cxn ang="0">
                  <a:pos x="23" y="8"/>
                </a:cxn>
                <a:cxn ang="0">
                  <a:pos x="28" y="25"/>
                </a:cxn>
                <a:cxn ang="0">
                  <a:pos x="20" y="42"/>
                </a:cxn>
                <a:cxn ang="0">
                  <a:pos x="30" y="59"/>
                </a:cxn>
                <a:cxn ang="0">
                  <a:pos x="30" y="58"/>
                </a:cxn>
                <a:cxn ang="0">
                  <a:pos x="34" y="55"/>
                </a:cxn>
                <a:cxn ang="0">
                  <a:pos x="43" y="64"/>
                </a:cxn>
                <a:cxn ang="0">
                  <a:pos x="46" y="61"/>
                </a:cxn>
                <a:cxn ang="0">
                  <a:pos x="49" y="62"/>
                </a:cxn>
                <a:cxn ang="0">
                  <a:pos x="46" y="66"/>
                </a:cxn>
                <a:cxn ang="0">
                  <a:pos x="49" y="66"/>
                </a:cxn>
                <a:cxn ang="0">
                  <a:pos x="54" y="71"/>
                </a:cxn>
                <a:cxn ang="0">
                  <a:pos x="54" y="74"/>
                </a:cxn>
                <a:cxn ang="0">
                  <a:pos x="53" y="76"/>
                </a:cxn>
                <a:cxn ang="0">
                  <a:pos x="51" y="73"/>
                </a:cxn>
                <a:cxn ang="0">
                  <a:pos x="36" y="61"/>
                </a:cxn>
                <a:cxn ang="0">
                  <a:pos x="37" y="69"/>
                </a:cxn>
                <a:cxn ang="0">
                  <a:pos x="25" y="60"/>
                </a:cxn>
                <a:cxn ang="0">
                  <a:pos x="19" y="62"/>
                </a:cxn>
                <a:cxn ang="0">
                  <a:pos x="13" y="57"/>
                </a:cxn>
                <a:cxn ang="0">
                  <a:pos x="15" y="53"/>
                </a:cxn>
                <a:cxn ang="0">
                  <a:pos x="15" y="49"/>
                </a:cxn>
                <a:cxn ang="0">
                  <a:pos x="13" y="49"/>
                </a:cxn>
                <a:cxn ang="0">
                  <a:pos x="10" y="51"/>
                </a:cxn>
                <a:cxn ang="0">
                  <a:pos x="1" y="44"/>
                </a:cxn>
                <a:cxn ang="0">
                  <a:pos x="4" y="31"/>
                </a:cxn>
              </a:cxnLst>
              <a:rect l="0" t="0" r="r" b="b"/>
              <a:pathLst>
                <a:path w="54" h="76">
                  <a:moveTo>
                    <a:pt x="4" y="31"/>
                  </a:moveTo>
                  <a:cubicBezTo>
                    <a:pt x="6" y="28"/>
                    <a:pt x="6" y="23"/>
                    <a:pt x="6" y="20"/>
                  </a:cubicBezTo>
                  <a:cubicBezTo>
                    <a:pt x="7" y="15"/>
                    <a:pt x="5" y="12"/>
                    <a:pt x="5" y="7"/>
                  </a:cubicBezTo>
                  <a:cubicBezTo>
                    <a:pt x="5" y="3"/>
                    <a:pt x="6" y="0"/>
                    <a:pt x="9" y="0"/>
                  </a:cubicBezTo>
                  <a:cubicBezTo>
                    <a:pt x="13" y="0"/>
                    <a:pt x="12" y="7"/>
                    <a:pt x="16" y="7"/>
                  </a:cubicBezTo>
                  <a:cubicBezTo>
                    <a:pt x="18" y="7"/>
                    <a:pt x="20" y="4"/>
                    <a:pt x="21" y="3"/>
                  </a:cubicBezTo>
                  <a:cubicBezTo>
                    <a:pt x="21" y="3"/>
                    <a:pt x="22" y="4"/>
                    <a:pt x="22" y="5"/>
                  </a:cubicBezTo>
                  <a:cubicBezTo>
                    <a:pt x="22" y="6"/>
                    <a:pt x="23" y="7"/>
                    <a:pt x="23" y="8"/>
                  </a:cubicBezTo>
                  <a:cubicBezTo>
                    <a:pt x="23" y="13"/>
                    <a:pt x="28" y="18"/>
                    <a:pt x="28" y="25"/>
                  </a:cubicBezTo>
                  <a:cubicBezTo>
                    <a:pt x="28" y="33"/>
                    <a:pt x="20" y="34"/>
                    <a:pt x="20" y="42"/>
                  </a:cubicBezTo>
                  <a:cubicBezTo>
                    <a:pt x="20" y="48"/>
                    <a:pt x="26" y="57"/>
                    <a:pt x="30" y="59"/>
                  </a:cubicBezTo>
                  <a:cubicBezTo>
                    <a:pt x="30" y="59"/>
                    <a:pt x="30" y="58"/>
                    <a:pt x="30" y="58"/>
                  </a:cubicBezTo>
                  <a:cubicBezTo>
                    <a:pt x="30" y="56"/>
                    <a:pt x="32" y="54"/>
                    <a:pt x="34" y="55"/>
                  </a:cubicBezTo>
                  <a:cubicBezTo>
                    <a:pt x="39" y="55"/>
                    <a:pt x="40" y="63"/>
                    <a:pt x="43" y="64"/>
                  </a:cubicBezTo>
                  <a:cubicBezTo>
                    <a:pt x="44" y="64"/>
                    <a:pt x="45" y="61"/>
                    <a:pt x="46" y="61"/>
                  </a:cubicBezTo>
                  <a:cubicBezTo>
                    <a:pt x="47" y="61"/>
                    <a:pt x="48" y="62"/>
                    <a:pt x="49" y="62"/>
                  </a:cubicBezTo>
                  <a:cubicBezTo>
                    <a:pt x="48" y="64"/>
                    <a:pt x="46" y="64"/>
                    <a:pt x="46" y="66"/>
                  </a:cubicBezTo>
                  <a:cubicBezTo>
                    <a:pt x="46" y="67"/>
                    <a:pt x="48" y="67"/>
                    <a:pt x="49" y="66"/>
                  </a:cubicBezTo>
                  <a:cubicBezTo>
                    <a:pt x="49" y="69"/>
                    <a:pt x="51" y="71"/>
                    <a:pt x="54" y="71"/>
                  </a:cubicBezTo>
                  <a:cubicBezTo>
                    <a:pt x="54" y="72"/>
                    <a:pt x="54" y="73"/>
                    <a:pt x="54" y="74"/>
                  </a:cubicBezTo>
                  <a:cubicBezTo>
                    <a:pt x="54" y="75"/>
                    <a:pt x="53" y="76"/>
                    <a:pt x="53" y="76"/>
                  </a:cubicBezTo>
                  <a:cubicBezTo>
                    <a:pt x="51" y="76"/>
                    <a:pt x="51" y="74"/>
                    <a:pt x="51" y="73"/>
                  </a:cubicBezTo>
                  <a:cubicBezTo>
                    <a:pt x="48" y="69"/>
                    <a:pt x="39" y="65"/>
                    <a:pt x="36" y="61"/>
                  </a:cubicBezTo>
                  <a:cubicBezTo>
                    <a:pt x="34" y="64"/>
                    <a:pt x="35" y="66"/>
                    <a:pt x="37" y="69"/>
                  </a:cubicBezTo>
                  <a:cubicBezTo>
                    <a:pt x="31" y="69"/>
                    <a:pt x="31" y="60"/>
                    <a:pt x="25" y="60"/>
                  </a:cubicBezTo>
                  <a:cubicBezTo>
                    <a:pt x="23" y="60"/>
                    <a:pt x="21" y="62"/>
                    <a:pt x="19" y="62"/>
                  </a:cubicBezTo>
                  <a:cubicBezTo>
                    <a:pt x="16" y="62"/>
                    <a:pt x="13" y="59"/>
                    <a:pt x="13" y="57"/>
                  </a:cubicBezTo>
                  <a:cubicBezTo>
                    <a:pt x="13" y="55"/>
                    <a:pt x="14" y="53"/>
                    <a:pt x="15" y="53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2" y="50"/>
                    <a:pt x="11" y="51"/>
                    <a:pt x="10" y="51"/>
                  </a:cubicBezTo>
                  <a:cubicBezTo>
                    <a:pt x="8" y="51"/>
                    <a:pt x="1" y="47"/>
                    <a:pt x="1" y="44"/>
                  </a:cubicBezTo>
                  <a:cubicBezTo>
                    <a:pt x="1" y="38"/>
                    <a:pt x="0" y="30"/>
                    <a:pt x="4" y="31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4" name="Freeform 122"/>
            <p:cNvSpPr>
              <a:spLocks/>
            </p:cNvSpPr>
            <p:nvPr/>
          </p:nvSpPr>
          <p:spPr bwMode="auto">
            <a:xfrm>
              <a:off x="6457950" y="2665413"/>
              <a:ext cx="23813" cy="41275"/>
            </a:xfrm>
            <a:custGeom>
              <a:avLst/>
              <a:gdLst/>
              <a:ahLst/>
              <a:cxnLst>
                <a:cxn ang="0">
                  <a:pos x="16" y="20"/>
                </a:cxn>
                <a:cxn ang="0">
                  <a:pos x="10" y="20"/>
                </a:cxn>
                <a:cxn ang="0">
                  <a:pos x="14" y="28"/>
                </a:cxn>
                <a:cxn ang="0">
                  <a:pos x="14" y="30"/>
                </a:cxn>
                <a:cxn ang="0">
                  <a:pos x="10" y="30"/>
                </a:cxn>
                <a:cxn ang="0">
                  <a:pos x="8" y="25"/>
                </a:cxn>
                <a:cxn ang="0">
                  <a:pos x="8" y="23"/>
                </a:cxn>
                <a:cxn ang="0">
                  <a:pos x="2" y="17"/>
                </a:cxn>
                <a:cxn ang="0">
                  <a:pos x="2" y="15"/>
                </a:cxn>
                <a:cxn ang="0">
                  <a:pos x="8" y="15"/>
                </a:cxn>
                <a:cxn ang="0">
                  <a:pos x="10" y="13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13" y="2"/>
                </a:cxn>
                <a:cxn ang="0">
                  <a:pos x="13" y="6"/>
                </a:cxn>
                <a:cxn ang="0">
                  <a:pos x="15" y="6"/>
                </a:cxn>
                <a:cxn ang="0">
                  <a:pos x="15" y="12"/>
                </a:cxn>
                <a:cxn ang="0">
                  <a:pos x="18" y="15"/>
                </a:cxn>
                <a:cxn ang="0">
                  <a:pos x="16" y="20"/>
                </a:cxn>
              </a:cxnLst>
              <a:rect l="0" t="0" r="r" b="b"/>
              <a:pathLst>
                <a:path w="18" h="30">
                  <a:moveTo>
                    <a:pt x="16" y="20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11" y="23"/>
                    <a:pt x="12" y="27"/>
                    <a:pt x="14" y="28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3" y="30"/>
                    <a:pt x="11" y="30"/>
                    <a:pt x="10" y="30"/>
                  </a:cubicBezTo>
                  <a:cubicBezTo>
                    <a:pt x="7" y="30"/>
                    <a:pt x="7" y="27"/>
                    <a:pt x="8" y="25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5" y="23"/>
                    <a:pt x="3" y="19"/>
                    <a:pt x="2" y="17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4" y="15"/>
                    <a:pt x="7" y="15"/>
                    <a:pt x="8" y="15"/>
                  </a:cubicBezTo>
                  <a:cubicBezTo>
                    <a:pt x="8" y="15"/>
                    <a:pt x="10" y="14"/>
                    <a:pt x="10" y="13"/>
                  </a:cubicBezTo>
                  <a:cubicBezTo>
                    <a:pt x="10" y="8"/>
                    <a:pt x="1" y="5"/>
                    <a:pt x="0" y="2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7" y="0"/>
                    <a:pt x="9" y="2"/>
                    <a:pt x="13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6"/>
                    <a:pt x="14" y="6"/>
                    <a:pt x="15" y="6"/>
                  </a:cubicBezTo>
                  <a:cubicBezTo>
                    <a:pt x="15" y="8"/>
                    <a:pt x="15" y="12"/>
                    <a:pt x="15" y="12"/>
                  </a:cubicBezTo>
                  <a:cubicBezTo>
                    <a:pt x="15" y="12"/>
                    <a:pt x="18" y="15"/>
                    <a:pt x="18" y="15"/>
                  </a:cubicBezTo>
                  <a:cubicBezTo>
                    <a:pt x="18" y="18"/>
                    <a:pt x="17" y="19"/>
                    <a:pt x="16" y="2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5" name="Freeform 123"/>
            <p:cNvSpPr>
              <a:spLocks/>
            </p:cNvSpPr>
            <p:nvPr/>
          </p:nvSpPr>
          <p:spPr bwMode="auto">
            <a:xfrm>
              <a:off x="6423025" y="2676525"/>
              <a:ext cx="19050" cy="25400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14" y="7"/>
                </a:cxn>
                <a:cxn ang="0">
                  <a:pos x="1" y="19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5" y="2"/>
                </a:cxn>
                <a:cxn ang="0">
                  <a:pos x="3" y="1"/>
                </a:cxn>
              </a:cxnLst>
              <a:rect l="0" t="0" r="r" b="b"/>
              <a:pathLst>
                <a:path w="14" h="19">
                  <a:moveTo>
                    <a:pt x="3" y="1"/>
                  </a:moveTo>
                  <a:cubicBezTo>
                    <a:pt x="4" y="3"/>
                    <a:pt x="14" y="4"/>
                    <a:pt x="14" y="7"/>
                  </a:cubicBezTo>
                  <a:cubicBezTo>
                    <a:pt x="14" y="14"/>
                    <a:pt x="5" y="17"/>
                    <a:pt x="1" y="19"/>
                  </a:cubicBezTo>
                  <a:cubicBezTo>
                    <a:pt x="1" y="13"/>
                    <a:pt x="0" y="6"/>
                    <a:pt x="0" y="2"/>
                  </a:cubicBezTo>
                  <a:cubicBezTo>
                    <a:pt x="0" y="1"/>
                    <a:pt x="2" y="0"/>
                    <a:pt x="2" y="0"/>
                  </a:cubicBezTo>
                  <a:cubicBezTo>
                    <a:pt x="3" y="0"/>
                    <a:pt x="4" y="2"/>
                    <a:pt x="5" y="2"/>
                  </a:cubicBezTo>
                  <a:lnTo>
                    <a:pt x="3" y="1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6" name="Freeform 124"/>
            <p:cNvSpPr>
              <a:spLocks/>
            </p:cNvSpPr>
            <p:nvPr/>
          </p:nvSpPr>
          <p:spPr bwMode="auto">
            <a:xfrm>
              <a:off x="6432550" y="2692400"/>
              <a:ext cx="19050" cy="31750"/>
            </a:xfrm>
            <a:custGeom>
              <a:avLst/>
              <a:gdLst/>
              <a:ahLst/>
              <a:cxnLst>
                <a:cxn ang="0">
                  <a:pos x="14" y="5"/>
                </a:cxn>
                <a:cxn ang="0">
                  <a:pos x="9" y="17"/>
                </a:cxn>
                <a:cxn ang="0">
                  <a:pos x="11" y="22"/>
                </a:cxn>
                <a:cxn ang="0">
                  <a:pos x="9" y="24"/>
                </a:cxn>
                <a:cxn ang="0">
                  <a:pos x="0" y="14"/>
                </a:cxn>
                <a:cxn ang="0">
                  <a:pos x="4" y="12"/>
                </a:cxn>
                <a:cxn ang="0">
                  <a:pos x="8" y="1"/>
                </a:cxn>
                <a:cxn ang="0">
                  <a:pos x="14" y="5"/>
                </a:cxn>
              </a:cxnLst>
              <a:rect l="0" t="0" r="r" b="b"/>
              <a:pathLst>
                <a:path w="14" h="24">
                  <a:moveTo>
                    <a:pt x="14" y="5"/>
                  </a:moveTo>
                  <a:cubicBezTo>
                    <a:pt x="14" y="10"/>
                    <a:pt x="10" y="13"/>
                    <a:pt x="9" y="17"/>
                  </a:cubicBezTo>
                  <a:cubicBezTo>
                    <a:pt x="9" y="21"/>
                    <a:pt x="11" y="20"/>
                    <a:pt x="11" y="22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7" y="24"/>
                    <a:pt x="0" y="17"/>
                    <a:pt x="0" y="14"/>
                  </a:cubicBezTo>
                  <a:cubicBezTo>
                    <a:pt x="0" y="13"/>
                    <a:pt x="3" y="12"/>
                    <a:pt x="4" y="12"/>
                  </a:cubicBezTo>
                  <a:cubicBezTo>
                    <a:pt x="4" y="11"/>
                    <a:pt x="6" y="1"/>
                    <a:pt x="8" y="1"/>
                  </a:cubicBezTo>
                  <a:cubicBezTo>
                    <a:pt x="12" y="0"/>
                    <a:pt x="14" y="3"/>
                    <a:pt x="14" y="5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7" name="Freeform 125"/>
            <p:cNvSpPr>
              <a:spLocks/>
            </p:cNvSpPr>
            <p:nvPr/>
          </p:nvSpPr>
          <p:spPr bwMode="auto">
            <a:xfrm>
              <a:off x="6450013" y="2693988"/>
              <a:ext cx="7938" cy="2063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4" y="0"/>
                </a:cxn>
                <a:cxn ang="0">
                  <a:pos x="7" y="0"/>
                </a:cxn>
              </a:cxnLst>
              <a:rect l="0" t="0" r="r" b="b"/>
              <a:pathLst>
                <a:path w="7" h="15">
                  <a:moveTo>
                    <a:pt x="7" y="0"/>
                  </a:moveTo>
                  <a:cubicBezTo>
                    <a:pt x="7" y="7"/>
                    <a:pt x="2" y="9"/>
                    <a:pt x="2" y="15"/>
                  </a:cubicBezTo>
                  <a:cubicBezTo>
                    <a:pt x="2" y="15"/>
                    <a:pt x="0" y="15"/>
                    <a:pt x="0" y="15"/>
                  </a:cubicBezTo>
                  <a:cubicBezTo>
                    <a:pt x="1" y="10"/>
                    <a:pt x="4" y="7"/>
                    <a:pt x="4" y="0"/>
                  </a:cubicBezTo>
                  <a:cubicBezTo>
                    <a:pt x="5" y="0"/>
                    <a:pt x="6" y="0"/>
                    <a:pt x="7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8" name="Freeform 126"/>
            <p:cNvSpPr>
              <a:spLocks/>
            </p:cNvSpPr>
            <p:nvPr/>
          </p:nvSpPr>
          <p:spPr bwMode="auto">
            <a:xfrm>
              <a:off x="6454775" y="2706688"/>
              <a:ext cx="11113" cy="111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" y="8"/>
                </a:cxn>
                <a:cxn ang="0">
                  <a:pos x="0" y="6"/>
                </a:cxn>
                <a:cxn ang="0">
                  <a:pos x="3" y="0"/>
                </a:cxn>
                <a:cxn ang="0">
                  <a:pos x="8" y="0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cubicBezTo>
                    <a:pt x="8" y="4"/>
                    <a:pt x="6" y="8"/>
                    <a:pt x="2" y="8"/>
                  </a:cubicBezTo>
                  <a:cubicBezTo>
                    <a:pt x="1" y="8"/>
                    <a:pt x="0" y="6"/>
                    <a:pt x="0" y="6"/>
                  </a:cubicBezTo>
                  <a:cubicBezTo>
                    <a:pt x="0" y="3"/>
                    <a:pt x="2" y="2"/>
                    <a:pt x="3" y="0"/>
                  </a:cubicBezTo>
                  <a:cubicBezTo>
                    <a:pt x="5" y="1"/>
                    <a:pt x="7" y="1"/>
                    <a:pt x="8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9" name="Freeform 127"/>
            <p:cNvSpPr>
              <a:spLocks/>
            </p:cNvSpPr>
            <p:nvPr/>
          </p:nvSpPr>
          <p:spPr bwMode="auto">
            <a:xfrm>
              <a:off x="6442075" y="2665413"/>
              <a:ext cx="12700" cy="17463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10" y="10"/>
                </a:cxn>
                <a:cxn ang="0">
                  <a:pos x="6" y="6"/>
                </a:cxn>
                <a:cxn ang="0">
                  <a:pos x="0" y="6"/>
                </a:cxn>
              </a:cxnLst>
              <a:rect l="0" t="0" r="r" b="b"/>
              <a:pathLst>
                <a:path w="10" h="12">
                  <a:moveTo>
                    <a:pt x="0" y="6"/>
                  </a:moveTo>
                  <a:cubicBezTo>
                    <a:pt x="0" y="3"/>
                    <a:pt x="0" y="2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4"/>
                    <a:pt x="10" y="5"/>
                    <a:pt x="10" y="10"/>
                  </a:cubicBezTo>
                  <a:cubicBezTo>
                    <a:pt x="10" y="12"/>
                    <a:pt x="6" y="8"/>
                    <a:pt x="6" y="6"/>
                  </a:cubicBezTo>
                  <a:cubicBezTo>
                    <a:pt x="4" y="5"/>
                    <a:pt x="2" y="6"/>
                    <a:pt x="0" y="6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0" name="Freeform 128"/>
            <p:cNvSpPr>
              <a:spLocks/>
            </p:cNvSpPr>
            <p:nvPr/>
          </p:nvSpPr>
          <p:spPr bwMode="auto">
            <a:xfrm>
              <a:off x="6397625" y="2649538"/>
              <a:ext cx="19050" cy="20638"/>
            </a:xfrm>
            <a:custGeom>
              <a:avLst/>
              <a:gdLst/>
              <a:ahLst/>
              <a:cxnLst>
                <a:cxn ang="0">
                  <a:pos x="11" y="15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14" y="7"/>
                </a:cxn>
                <a:cxn ang="0">
                  <a:pos x="11" y="15"/>
                </a:cxn>
              </a:cxnLst>
              <a:rect l="0" t="0" r="r" b="b"/>
              <a:pathLst>
                <a:path w="15" h="15">
                  <a:moveTo>
                    <a:pt x="11" y="15"/>
                  </a:moveTo>
                  <a:cubicBezTo>
                    <a:pt x="9" y="15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3"/>
                    <a:pt x="13" y="2"/>
                    <a:pt x="14" y="7"/>
                  </a:cubicBezTo>
                  <a:cubicBezTo>
                    <a:pt x="15" y="10"/>
                    <a:pt x="13" y="15"/>
                    <a:pt x="11" y="15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1" name="Freeform 129"/>
            <p:cNvSpPr>
              <a:spLocks/>
            </p:cNvSpPr>
            <p:nvPr/>
          </p:nvSpPr>
          <p:spPr bwMode="auto">
            <a:xfrm>
              <a:off x="6416675" y="2652713"/>
              <a:ext cx="6350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"/>
                </a:cxn>
                <a:cxn ang="0">
                  <a:pos x="0" y="0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1" y="1"/>
                    <a:pt x="3" y="1"/>
                    <a:pt x="4" y="1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2" name="Freeform 130"/>
            <p:cNvSpPr>
              <a:spLocks/>
            </p:cNvSpPr>
            <p:nvPr/>
          </p:nvSpPr>
          <p:spPr bwMode="auto">
            <a:xfrm>
              <a:off x="6388100" y="2441575"/>
              <a:ext cx="36513" cy="50800"/>
            </a:xfrm>
            <a:custGeom>
              <a:avLst/>
              <a:gdLst/>
              <a:ahLst/>
              <a:cxnLst>
                <a:cxn ang="0">
                  <a:pos x="8" y="39"/>
                </a:cxn>
                <a:cxn ang="0">
                  <a:pos x="1" y="26"/>
                </a:cxn>
                <a:cxn ang="0">
                  <a:pos x="16" y="0"/>
                </a:cxn>
                <a:cxn ang="0">
                  <a:pos x="8" y="39"/>
                </a:cxn>
              </a:cxnLst>
              <a:rect l="0" t="0" r="r" b="b"/>
              <a:pathLst>
                <a:path w="27" h="39">
                  <a:moveTo>
                    <a:pt x="8" y="39"/>
                  </a:moveTo>
                  <a:cubicBezTo>
                    <a:pt x="0" y="39"/>
                    <a:pt x="1" y="33"/>
                    <a:pt x="1" y="26"/>
                  </a:cubicBezTo>
                  <a:cubicBezTo>
                    <a:pt x="1" y="17"/>
                    <a:pt x="10" y="0"/>
                    <a:pt x="16" y="0"/>
                  </a:cubicBezTo>
                  <a:cubicBezTo>
                    <a:pt x="27" y="0"/>
                    <a:pt x="18" y="39"/>
                    <a:pt x="8" y="39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3" name="Freeform 131"/>
            <p:cNvSpPr>
              <a:spLocks/>
            </p:cNvSpPr>
            <p:nvPr/>
          </p:nvSpPr>
          <p:spPr bwMode="auto">
            <a:xfrm>
              <a:off x="6194425" y="2532063"/>
              <a:ext cx="41275" cy="34925"/>
            </a:xfrm>
            <a:custGeom>
              <a:avLst/>
              <a:gdLst/>
              <a:ahLst/>
              <a:cxnLst>
                <a:cxn ang="0">
                  <a:pos x="2" y="11"/>
                </a:cxn>
                <a:cxn ang="0">
                  <a:pos x="26" y="0"/>
                </a:cxn>
                <a:cxn ang="0">
                  <a:pos x="31" y="7"/>
                </a:cxn>
                <a:cxn ang="0">
                  <a:pos x="11" y="27"/>
                </a:cxn>
                <a:cxn ang="0">
                  <a:pos x="2" y="18"/>
                </a:cxn>
                <a:cxn ang="0">
                  <a:pos x="2" y="11"/>
                </a:cxn>
              </a:cxnLst>
              <a:rect l="0" t="0" r="r" b="b"/>
              <a:pathLst>
                <a:path w="31" h="27">
                  <a:moveTo>
                    <a:pt x="2" y="11"/>
                  </a:moveTo>
                  <a:cubicBezTo>
                    <a:pt x="5" y="11"/>
                    <a:pt x="20" y="0"/>
                    <a:pt x="26" y="0"/>
                  </a:cubicBezTo>
                  <a:cubicBezTo>
                    <a:pt x="28" y="0"/>
                    <a:pt x="31" y="4"/>
                    <a:pt x="31" y="7"/>
                  </a:cubicBezTo>
                  <a:cubicBezTo>
                    <a:pt x="31" y="13"/>
                    <a:pt x="18" y="27"/>
                    <a:pt x="11" y="27"/>
                  </a:cubicBezTo>
                  <a:cubicBezTo>
                    <a:pt x="5" y="27"/>
                    <a:pt x="2" y="24"/>
                    <a:pt x="2" y="18"/>
                  </a:cubicBezTo>
                  <a:cubicBezTo>
                    <a:pt x="2" y="15"/>
                    <a:pt x="0" y="11"/>
                    <a:pt x="2" y="11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4" name="Freeform 132"/>
            <p:cNvSpPr>
              <a:spLocks/>
            </p:cNvSpPr>
            <p:nvPr/>
          </p:nvSpPr>
          <p:spPr bwMode="auto">
            <a:xfrm>
              <a:off x="6015038" y="2476500"/>
              <a:ext cx="195263" cy="374650"/>
            </a:xfrm>
            <a:custGeom>
              <a:avLst/>
              <a:gdLst/>
              <a:ahLst/>
              <a:cxnLst>
                <a:cxn ang="0">
                  <a:pos x="12" y="172"/>
                </a:cxn>
                <a:cxn ang="0">
                  <a:pos x="21" y="152"/>
                </a:cxn>
                <a:cxn ang="0">
                  <a:pos x="25" y="147"/>
                </a:cxn>
                <a:cxn ang="0">
                  <a:pos x="15" y="119"/>
                </a:cxn>
                <a:cxn ang="0">
                  <a:pos x="8" y="109"/>
                </a:cxn>
                <a:cxn ang="0">
                  <a:pos x="8" y="105"/>
                </a:cxn>
                <a:cxn ang="0">
                  <a:pos x="8" y="106"/>
                </a:cxn>
                <a:cxn ang="0">
                  <a:pos x="12" y="96"/>
                </a:cxn>
                <a:cxn ang="0">
                  <a:pos x="9" y="77"/>
                </a:cxn>
                <a:cxn ang="0">
                  <a:pos x="0" y="65"/>
                </a:cxn>
                <a:cxn ang="0">
                  <a:pos x="8" y="47"/>
                </a:cxn>
                <a:cxn ang="0">
                  <a:pos x="19" y="43"/>
                </a:cxn>
                <a:cxn ang="0">
                  <a:pos x="45" y="19"/>
                </a:cxn>
                <a:cxn ang="0">
                  <a:pos x="47" y="19"/>
                </a:cxn>
                <a:cxn ang="0">
                  <a:pos x="50" y="24"/>
                </a:cxn>
                <a:cxn ang="0">
                  <a:pos x="52" y="20"/>
                </a:cxn>
                <a:cxn ang="0">
                  <a:pos x="52" y="9"/>
                </a:cxn>
                <a:cxn ang="0">
                  <a:pos x="64" y="6"/>
                </a:cxn>
                <a:cxn ang="0">
                  <a:pos x="78" y="6"/>
                </a:cxn>
                <a:cxn ang="0">
                  <a:pos x="96" y="0"/>
                </a:cxn>
                <a:cxn ang="0">
                  <a:pos x="115" y="5"/>
                </a:cxn>
                <a:cxn ang="0">
                  <a:pos x="130" y="22"/>
                </a:cxn>
                <a:cxn ang="0">
                  <a:pos x="100" y="58"/>
                </a:cxn>
                <a:cxn ang="0">
                  <a:pos x="104" y="64"/>
                </a:cxn>
                <a:cxn ang="0">
                  <a:pos x="129" y="93"/>
                </a:cxn>
                <a:cxn ang="0">
                  <a:pos x="147" y="134"/>
                </a:cxn>
                <a:cxn ang="0">
                  <a:pos x="142" y="156"/>
                </a:cxn>
                <a:cxn ang="0">
                  <a:pos x="115" y="170"/>
                </a:cxn>
                <a:cxn ang="0">
                  <a:pos x="105" y="180"/>
                </a:cxn>
                <a:cxn ang="0">
                  <a:pos x="104" y="176"/>
                </a:cxn>
                <a:cxn ang="0">
                  <a:pos x="104" y="181"/>
                </a:cxn>
                <a:cxn ang="0">
                  <a:pos x="93" y="192"/>
                </a:cxn>
                <a:cxn ang="0">
                  <a:pos x="90" y="183"/>
                </a:cxn>
                <a:cxn ang="0">
                  <a:pos x="91" y="177"/>
                </a:cxn>
                <a:cxn ang="0">
                  <a:pos x="88" y="170"/>
                </a:cxn>
                <a:cxn ang="0">
                  <a:pos x="73" y="161"/>
                </a:cxn>
                <a:cxn ang="0">
                  <a:pos x="63" y="149"/>
                </a:cxn>
                <a:cxn ang="0">
                  <a:pos x="43" y="141"/>
                </a:cxn>
                <a:cxn ang="0">
                  <a:pos x="41" y="135"/>
                </a:cxn>
                <a:cxn ang="0">
                  <a:pos x="30" y="129"/>
                </a:cxn>
                <a:cxn ang="0">
                  <a:pos x="27" y="134"/>
                </a:cxn>
                <a:cxn ang="0">
                  <a:pos x="29" y="142"/>
                </a:cxn>
                <a:cxn ang="0">
                  <a:pos x="16" y="171"/>
                </a:cxn>
                <a:cxn ang="0">
                  <a:pos x="31" y="192"/>
                </a:cxn>
                <a:cxn ang="0">
                  <a:pos x="30" y="192"/>
                </a:cxn>
                <a:cxn ang="0">
                  <a:pos x="35" y="206"/>
                </a:cxn>
                <a:cxn ang="0">
                  <a:pos x="73" y="243"/>
                </a:cxn>
                <a:cxn ang="0">
                  <a:pos x="71" y="251"/>
                </a:cxn>
                <a:cxn ang="0">
                  <a:pos x="80" y="267"/>
                </a:cxn>
                <a:cxn ang="0">
                  <a:pos x="84" y="280"/>
                </a:cxn>
                <a:cxn ang="0">
                  <a:pos x="78" y="280"/>
                </a:cxn>
                <a:cxn ang="0">
                  <a:pos x="75" y="282"/>
                </a:cxn>
                <a:cxn ang="0">
                  <a:pos x="68" y="278"/>
                </a:cxn>
                <a:cxn ang="0">
                  <a:pos x="37" y="246"/>
                </a:cxn>
                <a:cxn ang="0">
                  <a:pos x="27" y="214"/>
                </a:cxn>
                <a:cxn ang="0">
                  <a:pos x="14" y="192"/>
                </a:cxn>
                <a:cxn ang="0">
                  <a:pos x="8" y="192"/>
                </a:cxn>
                <a:cxn ang="0">
                  <a:pos x="8" y="189"/>
                </a:cxn>
                <a:cxn ang="0">
                  <a:pos x="10" y="172"/>
                </a:cxn>
                <a:cxn ang="0">
                  <a:pos x="11" y="172"/>
                </a:cxn>
                <a:cxn ang="0">
                  <a:pos x="12" y="172"/>
                </a:cxn>
              </a:cxnLst>
              <a:rect l="0" t="0" r="r" b="b"/>
              <a:pathLst>
                <a:path w="147" h="282">
                  <a:moveTo>
                    <a:pt x="12" y="172"/>
                  </a:moveTo>
                  <a:cubicBezTo>
                    <a:pt x="16" y="165"/>
                    <a:pt x="17" y="160"/>
                    <a:pt x="21" y="152"/>
                  </a:cubicBezTo>
                  <a:cubicBezTo>
                    <a:pt x="22" y="150"/>
                    <a:pt x="25" y="149"/>
                    <a:pt x="25" y="147"/>
                  </a:cubicBezTo>
                  <a:cubicBezTo>
                    <a:pt x="25" y="143"/>
                    <a:pt x="19" y="123"/>
                    <a:pt x="15" y="119"/>
                  </a:cubicBezTo>
                  <a:cubicBezTo>
                    <a:pt x="12" y="116"/>
                    <a:pt x="8" y="114"/>
                    <a:pt x="8" y="109"/>
                  </a:cubicBezTo>
                  <a:cubicBezTo>
                    <a:pt x="8" y="108"/>
                    <a:pt x="8" y="107"/>
                    <a:pt x="8" y="105"/>
                  </a:cubicBezTo>
                  <a:cubicBezTo>
                    <a:pt x="8" y="106"/>
                    <a:pt x="8" y="106"/>
                    <a:pt x="8" y="106"/>
                  </a:cubicBezTo>
                  <a:cubicBezTo>
                    <a:pt x="9" y="105"/>
                    <a:pt x="12" y="100"/>
                    <a:pt x="12" y="96"/>
                  </a:cubicBezTo>
                  <a:cubicBezTo>
                    <a:pt x="12" y="91"/>
                    <a:pt x="12" y="82"/>
                    <a:pt x="9" y="77"/>
                  </a:cubicBezTo>
                  <a:cubicBezTo>
                    <a:pt x="6" y="73"/>
                    <a:pt x="0" y="73"/>
                    <a:pt x="0" y="65"/>
                  </a:cubicBezTo>
                  <a:cubicBezTo>
                    <a:pt x="0" y="57"/>
                    <a:pt x="3" y="51"/>
                    <a:pt x="8" y="47"/>
                  </a:cubicBezTo>
                  <a:cubicBezTo>
                    <a:pt x="10" y="44"/>
                    <a:pt x="15" y="45"/>
                    <a:pt x="19" y="43"/>
                  </a:cubicBezTo>
                  <a:cubicBezTo>
                    <a:pt x="29" y="36"/>
                    <a:pt x="36" y="33"/>
                    <a:pt x="45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7" y="23"/>
                    <a:pt x="49" y="24"/>
                    <a:pt x="50" y="24"/>
                  </a:cubicBezTo>
                  <a:cubicBezTo>
                    <a:pt x="51" y="24"/>
                    <a:pt x="52" y="22"/>
                    <a:pt x="52" y="20"/>
                  </a:cubicBezTo>
                  <a:cubicBezTo>
                    <a:pt x="52" y="16"/>
                    <a:pt x="52" y="13"/>
                    <a:pt x="52" y="9"/>
                  </a:cubicBezTo>
                  <a:cubicBezTo>
                    <a:pt x="52" y="9"/>
                    <a:pt x="62" y="6"/>
                    <a:pt x="64" y="6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84" y="9"/>
                    <a:pt x="89" y="0"/>
                    <a:pt x="96" y="0"/>
                  </a:cubicBezTo>
                  <a:cubicBezTo>
                    <a:pt x="103" y="0"/>
                    <a:pt x="107" y="5"/>
                    <a:pt x="115" y="5"/>
                  </a:cubicBezTo>
                  <a:cubicBezTo>
                    <a:pt x="115" y="16"/>
                    <a:pt x="123" y="20"/>
                    <a:pt x="130" y="22"/>
                  </a:cubicBezTo>
                  <a:cubicBezTo>
                    <a:pt x="121" y="36"/>
                    <a:pt x="100" y="39"/>
                    <a:pt x="100" y="58"/>
                  </a:cubicBezTo>
                  <a:cubicBezTo>
                    <a:pt x="100" y="62"/>
                    <a:pt x="102" y="63"/>
                    <a:pt x="104" y="64"/>
                  </a:cubicBezTo>
                  <a:cubicBezTo>
                    <a:pt x="114" y="74"/>
                    <a:pt x="118" y="86"/>
                    <a:pt x="129" y="93"/>
                  </a:cubicBezTo>
                  <a:cubicBezTo>
                    <a:pt x="140" y="100"/>
                    <a:pt x="147" y="119"/>
                    <a:pt x="147" y="134"/>
                  </a:cubicBezTo>
                  <a:cubicBezTo>
                    <a:pt x="147" y="144"/>
                    <a:pt x="142" y="148"/>
                    <a:pt x="142" y="156"/>
                  </a:cubicBezTo>
                  <a:cubicBezTo>
                    <a:pt x="127" y="160"/>
                    <a:pt x="126" y="164"/>
                    <a:pt x="115" y="170"/>
                  </a:cubicBezTo>
                  <a:cubicBezTo>
                    <a:pt x="109" y="173"/>
                    <a:pt x="110" y="180"/>
                    <a:pt x="105" y="180"/>
                  </a:cubicBezTo>
                  <a:cubicBezTo>
                    <a:pt x="104" y="180"/>
                    <a:pt x="104" y="177"/>
                    <a:pt x="104" y="176"/>
                  </a:cubicBezTo>
                  <a:cubicBezTo>
                    <a:pt x="104" y="179"/>
                    <a:pt x="104" y="180"/>
                    <a:pt x="104" y="181"/>
                  </a:cubicBezTo>
                  <a:cubicBezTo>
                    <a:pt x="104" y="185"/>
                    <a:pt x="95" y="192"/>
                    <a:pt x="93" y="192"/>
                  </a:cubicBezTo>
                  <a:cubicBezTo>
                    <a:pt x="91" y="192"/>
                    <a:pt x="90" y="186"/>
                    <a:pt x="90" y="183"/>
                  </a:cubicBezTo>
                  <a:cubicBezTo>
                    <a:pt x="90" y="179"/>
                    <a:pt x="90" y="178"/>
                    <a:pt x="91" y="177"/>
                  </a:cubicBezTo>
                  <a:cubicBezTo>
                    <a:pt x="90" y="176"/>
                    <a:pt x="89" y="172"/>
                    <a:pt x="88" y="170"/>
                  </a:cubicBezTo>
                  <a:cubicBezTo>
                    <a:pt x="82" y="170"/>
                    <a:pt x="73" y="168"/>
                    <a:pt x="73" y="161"/>
                  </a:cubicBezTo>
                  <a:cubicBezTo>
                    <a:pt x="63" y="161"/>
                    <a:pt x="68" y="155"/>
                    <a:pt x="63" y="149"/>
                  </a:cubicBezTo>
                  <a:cubicBezTo>
                    <a:pt x="56" y="143"/>
                    <a:pt x="50" y="143"/>
                    <a:pt x="43" y="141"/>
                  </a:cubicBezTo>
                  <a:cubicBezTo>
                    <a:pt x="42" y="141"/>
                    <a:pt x="41" y="135"/>
                    <a:pt x="41" y="135"/>
                  </a:cubicBezTo>
                  <a:cubicBezTo>
                    <a:pt x="40" y="130"/>
                    <a:pt x="34" y="129"/>
                    <a:pt x="30" y="129"/>
                  </a:cubicBezTo>
                  <a:cubicBezTo>
                    <a:pt x="26" y="129"/>
                    <a:pt x="27" y="132"/>
                    <a:pt x="27" y="134"/>
                  </a:cubicBezTo>
                  <a:cubicBezTo>
                    <a:pt x="27" y="138"/>
                    <a:pt x="29" y="139"/>
                    <a:pt x="29" y="142"/>
                  </a:cubicBezTo>
                  <a:cubicBezTo>
                    <a:pt x="29" y="156"/>
                    <a:pt x="16" y="159"/>
                    <a:pt x="16" y="171"/>
                  </a:cubicBezTo>
                  <a:cubicBezTo>
                    <a:pt x="16" y="185"/>
                    <a:pt x="31" y="179"/>
                    <a:pt x="31" y="192"/>
                  </a:cubicBezTo>
                  <a:cubicBezTo>
                    <a:pt x="30" y="192"/>
                    <a:pt x="30" y="192"/>
                    <a:pt x="30" y="192"/>
                  </a:cubicBezTo>
                  <a:cubicBezTo>
                    <a:pt x="32" y="195"/>
                    <a:pt x="32" y="203"/>
                    <a:pt x="35" y="206"/>
                  </a:cubicBezTo>
                  <a:cubicBezTo>
                    <a:pt x="47" y="218"/>
                    <a:pt x="73" y="221"/>
                    <a:pt x="73" y="243"/>
                  </a:cubicBezTo>
                  <a:cubicBezTo>
                    <a:pt x="73" y="247"/>
                    <a:pt x="71" y="247"/>
                    <a:pt x="71" y="251"/>
                  </a:cubicBezTo>
                  <a:cubicBezTo>
                    <a:pt x="71" y="259"/>
                    <a:pt x="78" y="262"/>
                    <a:pt x="80" y="267"/>
                  </a:cubicBezTo>
                  <a:cubicBezTo>
                    <a:pt x="82" y="273"/>
                    <a:pt x="82" y="275"/>
                    <a:pt x="84" y="280"/>
                  </a:cubicBezTo>
                  <a:cubicBezTo>
                    <a:pt x="80" y="280"/>
                    <a:pt x="80" y="280"/>
                    <a:pt x="78" y="280"/>
                  </a:cubicBezTo>
                  <a:cubicBezTo>
                    <a:pt x="77" y="280"/>
                    <a:pt x="76" y="282"/>
                    <a:pt x="75" y="282"/>
                  </a:cubicBezTo>
                  <a:cubicBezTo>
                    <a:pt x="71" y="282"/>
                    <a:pt x="70" y="279"/>
                    <a:pt x="68" y="278"/>
                  </a:cubicBezTo>
                  <a:cubicBezTo>
                    <a:pt x="54" y="274"/>
                    <a:pt x="41" y="261"/>
                    <a:pt x="37" y="246"/>
                  </a:cubicBezTo>
                  <a:cubicBezTo>
                    <a:pt x="33" y="233"/>
                    <a:pt x="32" y="224"/>
                    <a:pt x="27" y="214"/>
                  </a:cubicBezTo>
                  <a:cubicBezTo>
                    <a:pt x="24" y="208"/>
                    <a:pt x="21" y="192"/>
                    <a:pt x="14" y="192"/>
                  </a:cubicBezTo>
                  <a:cubicBezTo>
                    <a:pt x="9" y="192"/>
                    <a:pt x="12" y="194"/>
                    <a:pt x="8" y="192"/>
                  </a:cubicBezTo>
                  <a:cubicBezTo>
                    <a:pt x="7" y="192"/>
                    <a:pt x="8" y="190"/>
                    <a:pt x="8" y="189"/>
                  </a:cubicBezTo>
                  <a:cubicBezTo>
                    <a:pt x="8" y="183"/>
                    <a:pt x="9" y="179"/>
                    <a:pt x="10" y="172"/>
                  </a:cubicBezTo>
                  <a:cubicBezTo>
                    <a:pt x="11" y="172"/>
                    <a:pt x="11" y="172"/>
                    <a:pt x="11" y="172"/>
                  </a:cubicBezTo>
                  <a:lnTo>
                    <a:pt x="12" y="172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5" name="Freeform 133"/>
            <p:cNvSpPr>
              <a:spLocks/>
            </p:cNvSpPr>
            <p:nvPr/>
          </p:nvSpPr>
          <p:spPr bwMode="auto">
            <a:xfrm>
              <a:off x="6142038" y="2898775"/>
              <a:ext cx="26988" cy="25400"/>
            </a:xfrm>
            <a:custGeom>
              <a:avLst/>
              <a:gdLst/>
              <a:ahLst/>
              <a:cxnLst>
                <a:cxn ang="0">
                  <a:pos x="12" y="17"/>
                </a:cxn>
                <a:cxn ang="0">
                  <a:pos x="9" y="11"/>
                </a:cxn>
                <a:cxn ang="0">
                  <a:pos x="0" y="6"/>
                </a:cxn>
                <a:cxn ang="0">
                  <a:pos x="9" y="0"/>
                </a:cxn>
                <a:cxn ang="0">
                  <a:pos x="20" y="15"/>
                </a:cxn>
                <a:cxn ang="0">
                  <a:pos x="21" y="19"/>
                </a:cxn>
                <a:cxn ang="0">
                  <a:pos x="17" y="19"/>
                </a:cxn>
                <a:cxn ang="0">
                  <a:pos x="12" y="17"/>
                </a:cxn>
              </a:cxnLst>
              <a:rect l="0" t="0" r="r" b="b"/>
              <a:pathLst>
                <a:path w="21" h="19">
                  <a:moveTo>
                    <a:pt x="12" y="17"/>
                  </a:moveTo>
                  <a:cubicBezTo>
                    <a:pt x="11" y="17"/>
                    <a:pt x="9" y="12"/>
                    <a:pt x="9" y="11"/>
                  </a:cubicBezTo>
                  <a:cubicBezTo>
                    <a:pt x="7" y="7"/>
                    <a:pt x="0" y="9"/>
                    <a:pt x="0" y="6"/>
                  </a:cubicBezTo>
                  <a:cubicBezTo>
                    <a:pt x="0" y="3"/>
                    <a:pt x="6" y="0"/>
                    <a:pt x="9" y="0"/>
                  </a:cubicBezTo>
                  <a:cubicBezTo>
                    <a:pt x="11" y="7"/>
                    <a:pt x="14" y="15"/>
                    <a:pt x="20" y="15"/>
                  </a:cubicBezTo>
                  <a:cubicBezTo>
                    <a:pt x="20" y="16"/>
                    <a:pt x="20" y="18"/>
                    <a:pt x="21" y="19"/>
                  </a:cubicBezTo>
                  <a:cubicBezTo>
                    <a:pt x="20" y="19"/>
                    <a:pt x="18" y="19"/>
                    <a:pt x="17" y="19"/>
                  </a:cubicBezTo>
                  <a:cubicBezTo>
                    <a:pt x="15" y="19"/>
                    <a:pt x="14" y="17"/>
                    <a:pt x="12" y="17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6" name="Freeform 134"/>
            <p:cNvSpPr>
              <a:spLocks/>
            </p:cNvSpPr>
            <p:nvPr/>
          </p:nvSpPr>
          <p:spPr bwMode="auto">
            <a:xfrm>
              <a:off x="6183313" y="2917825"/>
              <a:ext cx="11113" cy="11113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5" y="0"/>
                </a:cxn>
                <a:cxn ang="0">
                  <a:pos x="9" y="3"/>
                </a:cxn>
                <a:cxn ang="0">
                  <a:pos x="4" y="8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9" h="8">
                  <a:moveTo>
                    <a:pt x="1" y="0"/>
                  </a:moveTo>
                  <a:cubicBezTo>
                    <a:pt x="2" y="0"/>
                    <a:pt x="4" y="0"/>
                    <a:pt x="5" y="0"/>
                  </a:cubicBezTo>
                  <a:cubicBezTo>
                    <a:pt x="6" y="0"/>
                    <a:pt x="8" y="2"/>
                    <a:pt x="9" y="3"/>
                  </a:cubicBezTo>
                  <a:cubicBezTo>
                    <a:pt x="9" y="5"/>
                    <a:pt x="7" y="8"/>
                    <a:pt x="4" y="8"/>
                  </a:cubicBezTo>
                  <a:cubicBezTo>
                    <a:pt x="1" y="8"/>
                    <a:pt x="1" y="5"/>
                    <a:pt x="1" y="3"/>
                  </a:cubicBezTo>
                  <a:cubicBezTo>
                    <a:pt x="1" y="2"/>
                    <a:pt x="0" y="0"/>
                    <a:pt x="1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7" name="Freeform 135"/>
            <p:cNvSpPr>
              <a:spLocks/>
            </p:cNvSpPr>
            <p:nvPr/>
          </p:nvSpPr>
          <p:spPr bwMode="auto">
            <a:xfrm>
              <a:off x="6035675" y="2892425"/>
              <a:ext cx="9525" cy="1587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8" y="1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1" y="0"/>
                </a:cxn>
              </a:cxnLst>
              <a:rect l="0" t="0" r="r" b="b"/>
              <a:pathLst>
                <a:path w="8" h="12">
                  <a:moveTo>
                    <a:pt x="1" y="0"/>
                  </a:moveTo>
                  <a:cubicBezTo>
                    <a:pt x="5" y="4"/>
                    <a:pt x="8" y="7"/>
                    <a:pt x="8" y="12"/>
                  </a:cubicBezTo>
                  <a:cubicBezTo>
                    <a:pt x="5" y="12"/>
                    <a:pt x="0" y="5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2"/>
                    <a:pt x="3" y="2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8" name="Freeform 136"/>
            <p:cNvSpPr>
              <a:spLocks/>
            </p:cNvSpPr>
            <p:nvPr/>
          </p:nvSpPr>
          <p:spPr bwMode="auto">
            <a:xfrm>
              <a:off x="6013450" y="2855913"/>
              <a:ext cx="15875" cy="158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8" y="1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2" y="0"/>
                </a:cxn>
              </a:cxnLst>
              <a:rect l="0" t="0" r="r" b="b"/>
              <a:pathLst>
                <a:path w="12" h="11">
                  <a:moveTo>
                    <a:pt x="2" y="0"/>
                  </a:moveTo>
                  <a:cubicBezTo>
                    <a:pt x="5" y="2"/>
                    <a:pt x="12" y="11"/>
                    <a:pt x="8" y="11"/>
                  </a:cubicBezTo>
                  <a:cubicBezTo>
                    <a:pt x="6" y="11"/>
                    <a:pt x="1" y="4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9" name="Freeform 137"/>
            <p:cNvSpPr>
              <a:spLocks/>
            </p:cNvSpPr>
            <p:nvPr/>
          </p:nvSpPr>
          <p:spPr bwMode="auto">
            <a:xfrm>
              <a:off x="6548438" y="2284413"/>
              <a:ext cx="41275" cy="49213"/>
            </a:xfrm>
            <a:custGeom>
              <a:avLst/>
              <a:gdLst/>
              <a:ahLst/>
              <a:cxnLst>
                <a:cxn ang="0">
                  <a:pos x="12" y="22"/>
                </a:cxn>
                <a:cxn ang="0">
                  <a:pos x="14" y="16"/>
                </a:cxn>
                <a:cxn ang="0">
                  <a:pos x="10" y="10"/>
                </a:cxn>
                <a:cxn ang="0">
                  <a:pos x="10" y="14"/>
                </a:cxn>
                <a:cxn ang="0">
                  <a:pos x="5" y="16"/>
                </a:cxn>
                <a:cxn ang="0">
                  <a:pos x="0" y="11"/>
                </a:cxn>
                <a:cxn ang="0">
                  <a:pos x="14" y="0"/>
                </a:cxn>
                <a:cxn ang="0">
                  <a:pos x="26" y="3"/>
                </a:cxn>
                <a:cxn ang="0">
                  <a:pos x="26" y="8"/>
                </a:cxn>
                <a:cxn ang="0">
                  <a:pos x="30" y="11"/>
                </a:cxn>
                <a:cxn ang="0">
                  <a:pos x="30" y="16"/>
                </a:cxn>
                <a:cxn ang="0">
                  <a:pos x="26" y="16"/>
                </a:cxn>
                <a:cxn ang="0">
                  <a:pos x="15" y="37"/>
                </a:cxn>
                <a:cxn ang="0">
                  <a:pos x="14" y="33"/>
                </a:cxn>
                <a:cxn ang="0">
                  <a:pos x="14" y="36"/>
                </a:cxn>
                <a:cxn ang="0">
                  <a:pos x="7" y="29"/>
                </a:cxn>
                <a:cxn ang="0">
                  <a:pos x="12" y="22"/>
                </a:cxn>
              </a:cxnLst>
              <a:rect l="0" t="0" r="r" b="b"/>
              <a:pathLst>
                <a:path w="30" h="37">
                  <a:moveTo>
                    <a:pt x="12" y="22"/>
                  </a:moveTo>
                  <a:cubicBezTo>
                    <a:pt x="14" y="16"/>
                    <a:pt x="14" y="16"/>
                    <a:pt x="14" y="16"/>
                  </a:cubicBezTo>
                  <a:cubicBezTo>
                    <a:pt x="11" y="15"/>
                    <a:pt x="11" y="12"/>
                    <a:pt x="10" y="10"/>
                  </a:cubicBezTo>
                  <a:cubicBezTo>
                    <a:pt x="10" y="11"/>
                    <a:pt x="9" y="13"/>
                    <a:pt x="10" y="14"/>
                  </a:cubicBezTo>
                  <a:cubicBezTo>
                    <a:pt x="8" y="14"/>
                    <a:pt x="6" y="16"/>
                    <a:pt x="5" y="16"/>
                  </a:cubicBezTo>
                  <a:cubicBezTo>
                    <a:pt x="3" y="16"/>
                    <a:pt x="0" y="13"/>
                    <a:pt x="0" y="11"/>
                  </a:cubicBezTo>
                  <a:cubicBezTo>
                    <a:pt x="0" y="8"/>
                    <a:pt x="13" y="0"/>
                    <a:pt x="14" y="0"/>
                  </a:cubicBezTo>
                  <a:cubicBezTo>
                    <a:pt x="18" y="0"/>
                    <a:pt x="20" y="3"/>
                    <a:pt x="26" y="3"/>
                  </a:cubicBezTo>
                  <a:cubicBezTo>
                    <a:pt x="26" y="5"/>
                    <a:pt x="25" y="8"/>
                    <a:pt x="26" y="8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3"/>
                    <a:pt x="29" y="14"/>
                    <a:pt x="30" y="16"/>
                  </a:cubicBezTo>
                  <a:cubicBezTo>
                    <a:pt x="29" y="16"/>
                    <a:pt x="27" y="16"/>
                    <a:pt x="26" y="16"/>
                  </a:cubicBezTo>
                  <a:cubicBezTo>
                    <a:pt x="25" y="24"/>
                    <a:pt x="21" y="37"/>
                    <a:pt x="15" y="37"/>
                  </a:cubicBezTo>
                  <a:cubicBezTo>
                    <a:pt x="14" y="37"/>
                    <a:pt x="14" y="35"/>
                    <a:pt x="14" y="33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0" y="36"/>
                    <a:pt x="7" y="31"/>
                    <a:pt x="7" y="29"/>
                  </a:cubicBezTo>
                  <a:cubicBezTo>
                    <a:pt x="7" y="28"/>
                    <a:pt x="12" y="22"/>
                    <a:pt x="12" y="22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0" name="Freeform 138"/>
            <p:cNvSpPr>
              <a:spLocks/>
            </p:cNvSpPr>
            <p:nvPr/>
          </p:nvSpPr>
          <p:spPr bwMode="auto">
            <a:xfrm>
              <a:off x="6596063" y="2271713"/>
              <a:ext cx="42863" cy="30163"/>
            </a:xfrm>
            <a:custGeom>
              <a:avLst/>
              <a:gdLst/>
              <a:ahLst/>
              <a:cxnLst>
                <a:cxn ang="0">
                  <a:pos x="23" y="15"/>
                </a:cxn>
                <a:cxn ang="0">
                  <a:pos x="17" y="12"/>
                </a:cxn>
                <a:cxn ang="0">
                  <a:pos x="6" y="23"/>
                </a:cxn>
                <a:cxn ang="0">
                  <a:pos x="3" y="17"/>
                </a:cxn>
                <a:cxn ang="0">
                  <a:pos x="0" y="12"/>
                </a:cxn>
                <a:cxn ang="0">
                  <a:pos x="8" y="5"/>
                </a:cxn>
                <a:cxn ang="0">
                  <a:pos x="23" y="0"/>
                </a:cxn>
                <a:cxn ang="0">
                  <a:pos x="23" y="15"/>
                </a:cxn>
              </a:cxnLst>
              <a:rect l="0" t="0" r="r" b="b"/>
              <a:pathLst>
                <a:path w="33" h="23">
                  <a:moveTo>
                    <a:pt x="23" y="15"/>
                  </a:moveTo>
                  <a:cubicBezTo>
                    <a:pt x="20" y="15"/>
                    <a:pt x="18" y="13"/>
                    <a:pt x="17" y="12"/>
                  </a:cubicBezTo>
                  <a:cubicBezTo>
                    <a:pt x="13" y="16"/>
                    <a:pt x="12" y="23"/>
                    <a:pt x="6" y="23"/>
                  </a:cubicBezTo>
                  <a:cubicBezTo>
                    <a:pt x="4" y="23"/>
                    <a:pt x="3" y="19"/>
                    <a:pt x="3" y="17"/>
                  </a:cubicBezTo>
                  <a:cubicBezTo>
                    <a:pt x="1" y="15"/>
                    <a:pt x="0" y="14"/>
                    <a:pt x="0" y="12"/>
                  </a:cubicBezTo>
                  <a:cubicBezTo>
                    <a:pt x="0" y="12"/>
                    <a:pt x="8" y="6"/>
                    <a:pt x="8" y="5"/>
                  </a:cubicBezTo>
                  <a:cubicBezTo>
                    <a:pt x="16" y="7"/>
                    <a:pt x="17" y="0"/>
                    <a:pt x="23" y="0"/>
                  </a:cubicBezTo>
                  <a:cubicBezTo>
                    <a:pt x="33" y="0"/>
                    <a:pt x="28" y="15"/>
                    <a:pt x="23" y="15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1" name="Freeform 139"/>
            <p:cNvSpPr>
              <a:spLocks/>
            </p:cNvSpPr>
            <p:nvPr/>
          </p:nvSpPr>
          <p:spPr bwMode="auto">
            <a:xfrm>
              <a:off x="6572250" y="2136775"/>
              <a:ext cx="185738" cy="153988"/>
            </a:xfrm>
            <a:custGeom>
              <a:avLst/>
              <a:gdLst/>
              <a:ahLst/>
              <a:cxnLst>
                <a:cxn ang="0">
                  <a:pos x="55" y="110"/>
                </a:cxn>
                <a:cxn ang="0">
                  <a:pos x="55" y="107"/>
                </a:cxn>
                <a:cxn ang="0">
                  <a:pos x="56" y="99"/>
                </a:cxn>
                <a:cxn ang="0">
                  <a:pos x="43" y="95"/>
                </a:cxn>
                <a:cxn ang="0">
                  <a:pos x="39" y="99"/>
                </a:cxn>
                <a:cxn ang="0">
                  <a:pos x="29" y="100"/>
                </a:cxn>
                <a:cxn ang="0">
                  <a:pos x="6" y="106"/>
                </a:cxn>
                <a:cxn ang="0">
                  <a:pos x="0" y="104"/>
                </a:cxn>
                <a:cxn ang="0">
                  <a:pos x="5" y="101"/>
                </a:cxn>
                <a:cxn ang="0">
                  <a:pos x="30" y="84"/>
                </a:cxn>
                <a:cxn ang="0">
                  <a:pos x="57" y="84"/>
                </a:cxn>
                <a:cxn ang="0">
                  <a:pos x="72" y="70"/>
                </a:cxn>
                <a:cxn ang="0">
                  <a:pos x="79" y="59"/>
                </a:cxn>
                <a:cxn ang="0">
                  <a:pos x="77" y="64"/>
                </a:cxn>
                <a:cxn ang="0">
                  <a:pos x="79" y="66"/>
                </a:cxn>
                <a:cxn ang="0">
                  <a:pos x="92" y="60"/>
                </a:cxn>
                <a:cxn ang="0">
                  <a:pos x="116" y="25"/>
                </a:cxn>
                <a:cxn ang="0">
                  <a:pos x="114" y="19"/>
                </a:cxn>
                <a:cxn ang="0">
                  <a:pos x="125" y="3"/>
                </a:cxn>
                <a:cxn ang="0">
                  <a:pos x="130" y="4"/>
                </a:cxn>
                <a:cxn ang="0">
                  <a:pos x="129" y="4"/>
                </a:cxn>
                <a:cxn ang="0">
                  <a:pos x="128" y="0"/>
                </a:cxn>
                <a:cxn ang="0">
                  <a:pos x="133" y="2"/>
                </a:cxn>
                <a:cxn ang="0">
                  <a:pos x="134" y="11"/>
                </a:cxn>
                <a:cxn ang="0">
                  <a:pos x="140" y="26"/>
                </a:cxn>
                <a:cxn ang="0">
                  <a:pos x="134" y="40"/>
                </a:cxn>
                <a:cxn ang="0">
                  <a:pos x="134" y="43"/>
                </a:cxn>
                <a:cxn ang="0">
                  <a:pos x="130" y="44"/>
                </a:cxn>
                <a:cxn ang="0">
                  <a:pos x="127" y="63"/>
                </a:cxn>
                <a:cxn ang="0">
                  <a:pos x="122" y="76"/>
                </a:cxn>
                <a:cxn ang="0">
                  <a:pos x="125" y="84"/>
                </a:cxn>
                <a:cxn ang="0">
                  <a:pos x="114" y="93"/>
                </a:cxn>
                <a:cxn ang="0">
                  <a:pos x="114" y="86"/>
                </a:cxn>
                <a:cxn ang="0">
                  <a:pos x="102" y="96"/>
                </a:cxn>
                <a:cxn ang="0">
                  <a:pos x="100" y="94"/>
                </a:cxn>
                <a:cxn ang="0">
                  <a:pos x="96" y="94"/>
                </a:cxn>
                <a:cxn ang="0">
                  <a:pos x="87" y="100"/>
                </a:cxn>
                <a:cxn ang="0">
                  <a:pos x="74" y="92"/>
                </a:cxn>
                <a:cxn ang="0">
                  <a:pos x="72" y="96"/>
                </a:cxn>
                <a:cxn ang="0">
                  <a:pos x="76" y="103"/>
                </a:cxn>
                <a:cxn ang="0">
                  <a:pos x="72" y="103"/>
                </a:cxn>
                <a:cxn ang="0">
                  <a:pos x="61" y="115"/>
                </a:cxn>
                <a:cxn ang="0">
                  <a:pos x="55" y="110"/>
                </a:cxn>
              </a:cxnLst>
              <a:rect l="0" t="0" r="r" b="b"/>
              <a:pathLst>
                <a:path w="140" h="115">
                  <a:moveTo>
                    <a:pt x="55" y="110"/>
                  </a:moveTo>
                  <a:cubicBezTo>
                    <a:pt x="53" y="110"/>
                    <a:pt x="55" y="108"/>
                    <a:pt x="55" y="107"/>
                  </a:cubicBezTo>
                  <a:cubicBezTo>
                    <a:pt x="55" y="104"/>
                    <a:pt x="56" y="101"/>
                    <a:pt x="56" y="99"/>
                  </a:cubicBezTo>
                  <a:cubicBezTo>
                    <a:pt x="51" y="98"/>
                    <a:pt x="48" y="95"/>
                    <a:pt x="43" y="95"/>
                  </a:cubicBezTo>
                  <a:cubicBezTo>
                    <a:pt x="40" y="95"/>
                    <a:pt x="40" y="98"/>
                    <a:pt x="39" y="99"/>
                  </a:cubicBezTo>
                  <a:cubicBezTo>
                    <a:pt x="35" y="100"/>
                    <a:pt x="32" y="98"/>
                    <a:pt x="29" y="100"/>
                  </a:cubicBezTo>
                  <a:cubicBezTo>
                    <a:pt x="23" y="103"/>
                    <a:pt x="15" y="106"/>
                    <a:pt x="6" y="106"/>
                  </a:cubicBezTo>
                  <a:cubicBezTo>
                    <a:pt x="3" y="106"/>
                    <a:pt x="0" y="106"/>
                    <a:pt x="0" y="104"/>
                  </a:cubicBezTo>
                  <a:cubicBezTo>
                    <a:pt x="0" y="103"/>
                    <a:pt x="4" y="102"/>
                    <a:pt x="5" y="101"/>
                  </a:cubicBezTo>
                  <a:cubicBezTo>
                    <a:pt x="15" y="95"/>
                    <a:pt x="19" y="84"/>
                    <a:pt x="30" y="84"/>
                  </a:cubicBezTo>
                  <a:cubicBezTo>
                    <a:pt x="43" y="84"/>
                    <a:pt x="47" y="84"/>
                    <a:pt x="57" y="84"/>
                  </a:cubicBezTo>
                  <a:cubicBezTo>
                    <a:pt x="65" y="84"/>
                    <a:pt x="68" y="70"/>
                    <a:pt x="72" y="70"/>
                  </a:cubicBezTo>
                  <a:cubicBezTo>
                    <a:pt x="72" y="70"/>
                    <a:pt x="78" y="60"/>
                    <a:pt x="79" y="59"/>
                  </a:cubicBezTo>
                  <a:cubicBezTo>
                    <a:pt x="78" y="61"/>
                    <a:pt x="77" y="62"/>
                    <a:pt x="77" y="64"/>
                  </a:cubicBezTo>
                  <a:cubicBezTo>
                    <a:pt x="77" y="65"/>
                    <a:pt x="78" y="66"/>
                    <a:pt x="79" y="66"/>
                  </a:cubicBezTo>
                  <a:cubicBezTo>
                    <a:pt x="86" y="66"/>
                    <a:pt x="87" y="62"/>
                    <a:pt x="92" y="60"/>
                  </a:cubicBezTo>
                  <a:cubicBezTo>
                    <a:pt x="101" y="57"/>
                    <a:pt x="116" y="39"/>
                    <a:pt x="116" y="25"/>
                  </a:cubicBezTo>
                  <a:cubicBezTo>
                    <a:pt x="116" y="22"/>
                    <a:pt x="114" y="22"/>
                    <a:pt x="114" y="19"/>
                  </a:cubicBezTo>
                  <a:cubicBezTo>
                    <a:pt x="114" y="14"/>
                    <a:pt x="119" y="3"/>
                    <a:pt x="125" y="3"/>
                  </a:cubicBezTo>
                  <a:cubicBezTo>
                    <a:pt x="125" y="3"/>
                    <a:pt x="125" y="9"/>
                    <a:pt x="130" y="4"/>
                  </a:cubicBezTo>
                  <a:cubicBezTo>
                    <a:pt x="130" y="4"/>
                    <a:pt x="129" y="4"/>
                    <a:pt x="129" y="4"/>
                  </a:cubicBezTo>
                  <a:cubicBezTo>
                    <a:pt x="128" y="4"/>
                    <a:pt x="127" y="0"/>
                    <a:pt x="128" y="0"/>
                  </a:cubicBezTo>
                  <a:cubicBezTo>
                    <a:pt x="131" y="0"/>
                    <a:pt x="133" y="1"/>
                    <a:pt x="133" y="2"/>
                  </a:cubicBezTo>
                  <a:cubicBezTo>
                    <a:pt x="135" y="5"/>
                    <a:pt x="134" y="8"/>
                    <a:pt x="134" y="11"/>
                  </a:cubicBezTo>
                  <a:cubicBezTo>
                    <a:pt x="134" y="17"/>
                    <a:pt x="140" y="20"/>
                    <a:pt x="140" y="26"/>
                  </a:cubicBezTo>
                  <a:cubicBezTo>
                    <a:pt x="140" y="33"/>
                    <a:pt x="134" y="34"/>
                    <a:pt x="134" y="40"/>
                  </a:cubicBezTo>
                  <a:cubicBezTo>
                    <a:pt x="134" y="41"/>
                    <a:pt x="134" y="42"/>
                    <a:pt x="134" y="43"/>
                  </a:cubicBezTo>
                  <a:cubicBezTo>
                    <a:pt x="133" y="44"/>
                    <a:pt x="132" y="43"/>
                    <a:pt x="130" y="44"/>
                  </a:cubicBezTo>
                  <a:cubicBezTo>
                    <a:pt x="126" y="45"/>
                    <a:pt x="127" y="59"/>
                    <a:pt x="127" y="63"/>
                  </a:cubicBezTo>
                  <a:cubicBezTo>
                    <a:pt x="127" y="67"/>
                    <a:pt x="122" y="70"/>
                    <a:pt x="122" y="76"/>
                  </a:cubicBezTo>
                  <a:cubicBezTo>
                    <a:pt x="122" y="80"/>
                    <a:pt x="124" y="81"/>
                    <a:pt x="125" y="84"/>
                  </a:cubicBezTo>
                  <a:cubicBezTo>
                    <a:pt x="119" y="87"/>
                    <a:pt x="119" y="91"/>
                    <a:pt x="114" y="93"/>
                  </a:cubicBezTo>
                  <a:cubicBezTo>
                    <a:pt x="112" y="89"/>
                    <a:pt x="114" y="89"/>
                    <a:pt x="114" y="86"/>
                  </a:cubicBezTo>
                  <a:cubicBezTo>
                    <a:pt x="108" y="90"/>
                    <a:pt x="104" y="90"/>
                    <a:pt x="102" y="96"/>
                  </a:cubicBezTo>
                  <a:cubicBezTo>
                    <a:pt x="102" y="96"/>
                    <a:pt x="100" y="95"/>
                    <a:pt x="100" y="94"/>
                  </a:cubicBezTo>
                  <a:cubicBezTo>
                    <a:pt x="96" y="94"/>
                    <a:pt x="96" y="94"/>
                    <a:pt x="96" y="94"/>
                  </a:cubicBezTo>
                  <a:cubicBezTo>
                    <a:pt x="93" y="97"/>
                    <a:pt x="91" y="100"/>
                    <a:pt x="87" y="100"/>
                  </a:cubicBezTo>
                  <a:cubicBezTo>
                    <a:pt x="78" y="100"/>
                    <a:pt x="78" y="92"/>
                    <a:pt x="74" y="92"/>
                  </a:cubicBezTo>
                  <a:cubicBezTo>
                    <a:pt x="73" y="92"/>
                    <a:pt x="72" y="94"/>
                    <a:pt x="72" y="96"/>
                  </a:cubicBezTo>
                  <a:cubicBezTo>
                    <a:pt x="72" y="97"/>
                    <a:pt x="76" y="103"/>
                    <a:pt x="76" y="103"/>
                  </a:cubicBezTo>
                  <a:cubicBezTo>
                    <a:pt x="75" y="103"/>
                    <a:pt x="73" y="103"/>
                    <a:pt x="72" y="103"/>
                  </a:cubicBezTo>
                  <a:cubicBezTo>
                    <a:pt x="68" y="103"/>
                    <a:pt x="63" y="110"/>
                    <a:pt x="61" y="115"/>
                  </a:cubicBezTo>
                  <a:cubicBezTo>
                    <a:pt x="57" y="114"/>
                    <a:pt x="58" y="110"/>
                    <a:pt x="55" y="11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2" name="Freeform 140"/>
            <p:cNvSpPr>
              <a:spLocks/>
            </p:cNvSpPr>
            <p:nvPr/>
          </p:nvSpPr>
          <p:spPr bwMode="auto">
            <a:xfrm>
              <a:off x="6721475" y="2054225"/>
              <a:ext cx="96838" cy="80963"/>
            </a:xfrm>
            <a:custGeom>
              <a:avLst/>
              <a:gdLst/>
              <a:ahLst/>
              <a:cxnLst>
                <a:cxn ang="0">
                  <a:pos x="11" y="33"/>
                </a:cxn>
                <a:cxn ang="0">
                  <a:pos x="15" y="33"/>
                </a:cxn>
                <a:cxn ang="0">
                  <a:pos x="26" y="10"/>
                </a:cxn>
                <a:cxn ang="0">
                  <a:pos x="23" y="6"/>
                </a:cxn>
                <a:cxn ang="0">
                  <a:pos x="26" y="0"/>
                </a:cxn>
                <a:cxn ang="0">
                  <a:pos x="60" y="22"/>
                </a:cxn>
                <a:cxn ang="0">
                  <a:pos x="70" y="21"/>
                </a:cxn>
                <a:cxn ang="0">
                  <a:pos x="67" y="26"/>
                </a:cxn>
                <a:cxn ang="0">
                  <a:pos x="72" y="32"/>
                </a:cxn>
                <a:cxn ang="0">
                  <a:pos x="59" y="36"/>
                </a:cxn>
                <a:cxn ang="0">
                  <a:pos x="43" y="51"/>
                </a:cxn>
                <a:cxn ang="0">
                  <a:pos x="24" y="41"/>
                </a:cxn>
                <a:cxn ang="0">
                  <a:pos x="21" y="45"/>
                </a:cxn>
                <a:cxn ang="0">
                  <a:pos x="8" y="48"/>
                </a:cxn>
                <a:cxn ang="0">
                  <a:pos x="16" y="54"/>
                </a:cxn>
                <a:cxn ang="0">
                  <a:pos x="5" y="61"/>
                </a:cxn>
                <a:cxn ang="0">
                  <a:pos x="3" y="61"/>
                </a:cxn>
                <a:cxn ang="0">
                  <a:pos x="3" y="51"/>
                </a:cxn>
                <a:cxn ang="0">
                  <a:pos x="0" y="46"/>
                </a:cxn>
                <a:cxn ang="0">
                  <a:pos x="8" y="35"/>
                </a:cxn>
                <a:cxn ang="0">
                  <a:pos x="8" y="32"/>
                </a:cxn>
                <a:cxn ang="0">
                  <a:pos x="12" y="34"/>
                </a:cxn>
                <a:cxn ang="0">
                  <a:pos x="11" y="33"/>
                </a:cxn>
              </a:cxnLst>
              <a:rect l="0" t="0" r="r" b="b"/>
              <a:pathLst>
                <a:path w="72" h="61">
                  <a:moveTo>
                    <a:pt x="11" y="33"/>
                  </a:moveTo>
                  <a:cubicBezTo>
                    <a:pt x="12" y="33"/>
                    <a:pt x="14" y="33"/>
                    <a:pt x="15" y="33"/>
                  </a:cubicBezTo>
                  <a:cubicBezTo>
                    <a:pt x="23" y="33"/>
                    <a:pt x="26" y="16"/>
                    <a:pt x="26" y="10"/>
                  </a:cubicBezTo>
                  <a:cubicBezTo>
                    <a:pt x="26" y="8"/>
                    <a:pt x="23" y="7"/>
                    <a:pt x="23" y="6"/>
                  </a:cubicBezTo>
                  <a:cubicBezTo>
                    <a:pt x="23" y="2"/>
                    <a:pt x="25" y="1"/>
                    <a:pt x="26" y="0"/>
                  </a:cubicBezTo>
                  <a:cubicBezTo>
                    <a:pt x="38" y="8"/>
                    <a:pt x="43" y="22"/>
                    <a:pt x="60" y="22"/>
                  </a:cubicBezTo>
                  <a:cubicBezTo>
                    <a:pt x="64" y="22"/>
                    <a:pt x="67" y="19"/>
                    <a:pt x="70" y="21"/>
                  </a:cubicBezTo>
                  <a:cubicBezTo>
                    <a:pt x="69" y="23"/>
                    <a:pt x="67" y="24"/>
                    <a:pt x="67" y="26"/>
                  </a:cubicBezTo>
                  <a:cubicBezTo>
                    <a:pt x="67" y="29"/>
                    <a:pt x="71" y="32"/>
                    <a:pt x="72" y="32"/>
                  </a:cubicBezTo>
                  <a:cubicBezTo>
                    <a:pt x="68" y="35"/>
                    <a:pt x="65" y="36"/>
                    <a:pt x="59" y="36"/>
                  </a:cubicBezTo>
                  <a:cubicBezTo>
                    <a:pt x="49" y="36"/>
                    <a:pt x="46" y="46"/>
                    <a:pt x="43" y="51"/>
                  </a:cubicBezTo>
                  <a:cubicBezTo>
                    <a:pt x="36" y="47"/>
                    <a:pt x="31" y="46"/>
                    <a:pt x="24" y="41"/>
                  </a:cubicBezTo>
                  <a:cubicBezTo>
                    <a:pt x="23" y="42"/>
                    <a:pt x="21" y="43"/>
                    <a:pt x="21" y="45"/>
                  </a:cubicBezTo>
                  <a:cubicBezTo>
                    <a:pt x="15" y="45"/>
                    <a:pt x="8" y="40"/>
                    <a:pt x="8" y="48"/>
                  </a:cubicBezTo>
                  <a:cubicBezTo>
                    <a:pt x="8" y="52"/>
                    <a:pt x="14" y="52"/>
                    <a:pt x="16" y="54"/>
                  </a:cubicBezTo>
                  <a:cubicBezTo>
                    <a:pt x="12" y="59"/>
                    <a:pt x="9" y="57"/>
                    <a:pt x="5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3" y="58"/>
                    <a:pt x="3" y="51"/>
                    <a:pt x="3" y="51"/>
                  </a:cubicBezTo>
                  <a:cubicBezTo>
                    <a:pt x="3" y="49"/>
                    <a:pt x="0" y="48"/>
                    <a:pt x="0" y="46"/>
                  </a:cubicBezTo>
                  <a:cubicBezTo>
                    <a:pt x="0" y="41"/>
                    <a:pt x="8" y="38"/>
                    <a:pt x="8" y="35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9" y="32"/>
                    <a:pt x="10" y="33"/>
                    <a:pt x="12" y="34"/>
                  </a:cubicBezTo>
                  <a:lnTo>
                    <a:pt x="11" y="33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3" name="Freeform 141"/>
            <p:cNvSpPr>
              <a:spLocks/>
            </p:cNvSpPr>
            <p:nvPr/>
          </p:nvSpPr>
          <p:spPr bwMode="auto">
            <a:xfrm>
              <a:off x="6816725" y="2073275"/>
              <a:ext cx="15875" cy="14288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2" y="2"/>
                </a:cxn>
                <a:cxn ang="0">
                  <a:pos x="1" y="11"/>
                </a:cxn>
                <a:cxn ang="0">
                  <a:pos x="1" y="7"/>
                </a:cxn>
                <a:cxn ang="0">
                  <a:pos x="11" y="0"/>
                </a:cxn>
                <a:cxn ang="0">
                  <a:pos x="10" y="0"/>
                </a:cxn>
              </a:cxnLst>
              <a:rect l="0" t="0" r="r" b="b"/>
              <a:pathLst>
                <a:path w="12" h="11">
                  <a:moveTo>
                    <a:pt x="10" y="0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0" y="4"/>
                    <a:pt x="5" y="11"/>
                    <a:pt x="1" y="11"/>
                  </a:cubicBezTo>
                  <a:cubicBezTo>
                    <a:pt x="0" y="11"/>
                    <a:pt x="0" y="8"/>
                    <a:pt x="1" y="7"/>
                  </a:cubicBezTo>
                  <a:cubicBezTo>
                    <a:pt x="3" y="4"/>
                    <a:pt x="8" y="0"/>
                    <a:pt x="11" y="0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4" name="Freeform 142"/>
            <p:cNvSpPr>
              <a:spLocks/>
            </p:cNvSpPr>
            <p:nvPr/>
          </p:nvSpPr>
          <p:spPr bwMode="auto">
            <a:xfrm>
              <a:off x="6848475" y="2052638"/>
              <a:ext cx="22225" cy="15875"/>
            </a:xfrm>
            <a:custGeom>
              <a:avLst/>
              <a:gdLst/>
              <a:ahLst/>
              <a:cxnLst>
                <a:cxn ang="0">
                  <a:pos x="17" y="3"/>
                </a:cxn>
                <a:cxn ang="0">
                  <a:pos x="1" y="12"/>
                </a:cxn>
                <a:cxn ang="0">
                  <a:pos x="1" y="10"/>
                </a:cxn>
                <a:cxn ang="0">
                  <a:pos x="10" y="0"/>
                </a:cxn>
                <a:cxn ang="0">
                  <a:pos x="17" y="0"/>
                </a:cxn>
                <a:cxn ang="0">
                  <a:pos x="17" y="3"/>
                </a:cxn>
              </a:cxnLst>
              <a:rect l="0" t="0" r="r" b="b"/>
              <a:pathLst>
                <a:path w="17" h="12">
                  <a:moveTo>
                    <a:pt x="17" y="3"/>
                  </a:moveTo>
                  <a:cubicBezTo>
                    <a:pt x="7" y="3"/>
                    <a:pt x="7" y="12"/>
                    <a:pt x="1" y="12"/>
                  </a:cubicBezTo>
                  <a:cubicBezTo>
                    <a:pt x="0" y="12"/>
                    <a:pt x="1" y="10"/>
                    <a:pt x="1" y="10"/>
                  </a:cubicBezTo>
                  <a:cubicBezTo>
                    <a:pt x="1" y="10"/>
                    <a:pt x="5" y="0"/>
                    <a:pt x="10" y="0"/>
                  </a:cubicBezTo>
                  <a:cubicBezTo>
                    <a:pt x="13" y="0"/>
                    <a:pt x="15" y="0"/>
                    <a:pt x="17" y="0"/>
                  </a:cubicBezTo>
                  <a:lnTo>
                    <a:pt x="17" y="3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5" name="Freeform 143"/>
            <p:cNvSpPr>
              <a:spLocks/>
            </p:cNvSpPr>
            <p:nvPr/>
          </p:nvSpPr>
          <p:spPr bwMode="auto">
            <a:xfrm>
              <a:off x="6888163" y="2035175"/>
              <a:ext cx="12700" cy="11113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2" y="3"/>
                </a:cxn>
                <a:cxn ang="0">
                  <a:pos x="9" y="0"/>
                </a:cxn>
                <a:cxn ang="0">
                  <a:pos x="1" y="9"/>
                </a:cxn>
                <a:cxn ang="0">
                  <a:pos x="1" y="6"/>
                </a:cxn>
              </a:cxnLst>
              <a:rect l="0" t="0" r="r" b="b"/>
              <a:pathLst>
                <a:path w="9" h="9">
                  <a:moveTo>
                    <a:pt x="1" y="6"/>
                  </a:moveTo>
                  <a:cubicBezTo>
                    <a:pt x="3" y="6"/>
                    <a:pt x="1" y="4"/>
                    <a:pt x="2" y="3"/>
                  </a:cubicBezTo>
                  <a:cubicBezTo>
                    <a:pt x="3" y="0"/>
                    <a:pt x="8" y="0"/>
                    <a:pt x="9" y="0"/>
                  </a:cubicBezTo>
                  <a:cubicBezTo>
                    <a:pt x="8" y="3"/>
                    <a:pt x="5" y="9"/>
                    <a:pt x="1" y="9"/>
                  </a:cubicBezTo>
                  <a:cubicBezTo>
                    <a:pt x="0" y="9"/>
                    <a:pt x="0" y="6"/>
                    <a:pt x="1" y="6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6" name="Freeform 144"/>
            <p:cNvSpPr>
              <a:spLocks/>
            </p:cNvSpPr>
            <p:nvPr/>
          </p:nvSpPr>
          <p:spPr bwMode="auto">
            <a:xfrm>
              <a:off x="6753225" y="1855788"/>
              <a:ext cx="47625" cy="184150"/>
            </a:xfrm>
            <a:custGeom>
              <a:avLst/>
              <a:gdLst/>
              <a:ahLst/>
              <a:cxnLst>
                <a:cxn ang="0">
                  <a:pos x="26" y="84"/>
                </a:cxn>
                <a:cxn ang="0">
                  <a:pos x="13" y="109"/>
                </a:cxn>
                <a:cxn ang="0">
                  <a:pos x="26" y="132"/>
                </a:cxn>
                <a:cxn ang="0">
                  <a:pos x="25" y="132"/>
                </a:cxn>
                <a:cxn ang="0">
                  <a:pos x="20" y="128"/>
                </a:cxn>
                <a:cxn ang="0">
                  <a:pos x="16" y="128"/>
                </a:cxn>
                <a:cxn ang="0">
                  <a:pos x="5" y="138"/>
                </a:cxn>
                <a:cxn ang="0">
                  <a:pos x="5" y="125"/>
                </a:cxn>
                <a:cxn ang="0">
                  <a:pos x="7" y="105"/>
                </a:cxn>
                <a:cxn ang="0">
                  <a:pos x="4" y="93"/>
                </a:cxn>
                <a:cxn ang="0">
                  <a:pos x="7" y="79"/>
                </a:cxn>
                <a:cxn ang="0">
                  <a:pos x="7" y="53"/>
                </a:cxn>
                <a:cxn ang="0">
                  <a:pos x="0" y="37"/>
                </a:cxn>
                <a:cxn ang="0">
                  <a:pos x="9" y="15"/>
                </a:cxn>
                <a:cxn ang="0">
                  <a:pos x="11" y="9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19" y="20"/>
                </a:cxn>
                <a:cxn ang="0">
                  <a:pos x="21" y="37"/>
                </a:cxn>
                <a:cxn ang="0">
                  <a:pos x="21" y="47"/>
                </a:cxn>
                <a:cxn ang="0">
                  <a:pos x="24" y="59"/>
                </a:cxn>
                <a:cxn ang="0">
                  <a:pos x="36" y="90"/>
                </a:cxn>
                <a:cxn ang="0">
                  <a:pos x="26" y="84"/>
                </a:cxn>
              </a:cxnLst>
              <a:rect l="0" t="0" r="r" b="b"/>
              <a:pathLst>
                <a:path w="36" h="138">
                  <a:moveTo>
                    <a:pt x="26" y="84"/>
                  </a:moveTo>
                  <a:cubicBezTo>
                    <a:pt x="15" y="84"/>
                    <a:pt x="13" y="98"/>
                    <a:pt x="13" y="109"/>
                  </a:cubicBezTo>
                  <a:cubicBezTo>
                    <a:pt x="13" y="120"/>
                    <a:pt x="22" y="124"/>
                    <a:pt x="26" y="132"/>
                  </a:cubicBezTo>
                  <a:cubicBezTo>
                    <a:pt x="26" y="132"/>
                    <a:pt x="25" y="132"/>
                    <a:pt x="25" y="132"/>
                  </a:cubicBezTo>
                  <a:cubicBezTo>
                    <a:pt x="23" y="133"/>
                    <a:pt x="21" y="130"/>
                    <a:pt x="20" y="128"/>
                  </a:cubicBezTo>
                  <a:cubicBezTo>
                    <a:pt x="19" y="128"/>
                    <a:pt x="17" y="128"/>
                    <a:pt x="16" y="128"/>
                  </a:cubicBezTo>
                  <a:cubicBezTo>
                    <a:pt x="11" y="128"/>
                    <a:pt x="11" y="138"/>
                    <a:pt x="5" y="138"/>
                  </a:cubicBezTo>
                  <a:cubicBezTo>
                    <a:pt x="4" y="138"/>
                    <a:pt x="5" y="127"/>
                    <a:pt x="5" y="125"/>
                  </a:cubicBezTo>
                  <a:cubicBezTo>
                    <a:pt x="5" y="117"/>
                    <a:pt x="7" y="112"/>
                    <a:pt x="7" y="105"/>
                  </a:cubicBezTo>
                  <a:cubicBezTo>
                    <a:pt x="7" y="99"/>
                    <a:pt x="4" y="98"/>
                    <a:pt x="4" y="93"/>
                  </a:cubicBezTo>
                  <a:cubicBezTo>
                    <a:pt x="4" y="86"/>
                    <a:pt x="7" y="84"/>
                    <a:pt x="7" y="79"/>
                  </a:cubicBezTo>
                  <a:cubicBezTo>
                    <a:pt x="7" y="68"/>
                    <a:pt x="7" y="64"/>
                    <a:pt x="7" y="53"/>
                  </a:cubicBezTo>
                  <a:cubicBezTo>
                    <a:pt x="7" y="46"/>
                    <a:pt x="0" y="44"/>
                    <a:pt x="0" y="37"/>
                  </a:cubicBezTo>
                  <a:cubicBezTo>
                    <a:pt x="0" y="28"/>
                    <a:pt x="3" y="16"/>
                    <a:pt x="9" y="15"/>
                  </a:cubicBezTo>
                  <a:cubicBezTo>
                    <a:pt x="9" y="12"/>
                    <a:pt x="11" y="11"/>
                    <a:pt x="11" y="9"/>
                  </a:cubicBezTo>
                  <a:cubicBezTo>
                    <a:pt x="11" y="4"/>
                    <a:pt x="11" y="3"/>
                    <a:pt x="11" y="0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8"/>
                    <a:pt x="18" y="14"/>
                    <a:pt x="19" y="20"/>
                  </a:cubicBezTo>
                  <a:cubicBezTo>
                    <a:pt x="21" y="26"/>
                    <a:pt x="18" y="30"/>
                    <a:pt x="21" y="37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0" y="52"/>
                    <a:pt x="23" y="57"/>
                    <a:pt x="24" y="59"/>
                  </a:cubicBezTo>
                  <a:cubicBezTo>
                    <a:pt x="27" y="70"/>
                    <a:pt x="33" y="79"/>
                    <a:pt x="36" y="90"/>
                  </a:cubicBezTo>
                  <a:cubicBezTo>
                    <a:pt x="34" y="86"/>
                    <a:pt x="30" y="84"/>
                    <a:pt x="26" y="84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7" name="Freeform 145"/>
            <p:cNvSpPr>
              <a:spLocks/>
            </p:cNvSpPr>
            <p:nvPr/>
          </p:nvSpPr>
          <p:spPr bwMode="auto">
            <a:xfrm>
              <a:off x="5241925" y="1219200"/>
              <a:ext cx="292100" cy="214313"/>
            </a:xfrm>
            <a:custGeom>
              <a:avLst/>
              <a:gdLst/>
              <a:ahLst/>
              <a:cxnLst>
                <a:cxn ang="0">
                  <a:pos x="76" y="161"/>
                </a:cxn>
                <a:cxn ang="0">
                  <a:pos x="50" y="131"/>
                </a:cxn>
                <a:cxn ang="0">
                  <a:pos x="103" y="67"/>
                </a:cxn>
                <a:cxn ang="0">
                  <a:pos x="125" y="55"/>
                </a:cxn>
                <a:cxn ang="0">
                  <a:pos x="134" y="45"/>
                </a:cxn>
                <a:cxn ang="0">
                  <a:pos x="175" y="34"/>
                </a:cxn>
                <a:cxn ang="0">
                  <a:pos x="220" y="11"/>
                </a:cxn>
                <a:cxn ang="0">
                  <a:pos x="203" y="0"/>
                </a:cxn>
                <a:cxn ang="0">
                  <a:pos x="136" y="25"/>
                </a:cxn>
                <a:cxn ang="0">
                  <a:pos x="123" y="19"/>
                </a:cxn>
                <a:cxn ang="0">
                  <a:pos x="109" y="25"/>
                </a:cxn>
                <a:cxn ang="0">
                  <a:pos x="69" y="46"/>
                </a:cxn>
                <a:cxn ang="0">
                  <a:pos x="52" y="49"/>
                </a:cxn>
                <a:cxn ang="0">
                  <a:pos x="47" y="53"/>
                </a:cxn>
                <a:cxn ang="0">
                  <a:pos x="50" y="61"/>
                </a:cxn>
                <a:cxn ang="0">
                  <a:pos x="27" y="88"/>
                </a:cxn>
                <a:cxn ang="0">
                  <a:pos x="34" y="98"/>
                </a:cxn>
                <a:cxn ang="0">
                  <a:pos x="13" y="110"/>
                </a:cxn>
                <a:cxn ang="0">
                  <a:pos x="13" y="117"/>
                </a:cxn>
                <a:cxn ang="0">
                  <a:pos x="0" y="134"/>
                </a:cxn>
                <a:cxn ang="0">
                  <a:pos x="8" y="143"/>
                </a:cxn>
                <a:cxn ang="0">
                  <a:pos x="21" y="143"/>
                </a:cxn>
                <a:cxn ang="0">
                  <a:pos x="27" y="158"/>
                </a:cxn>
                <a:cxn ang="0">
                  <a:pos x="39" y="158"/>
                </a:cxn>
                <a:cxn ang="0">
                  <a:pos x="42" y="161"/>
                </a:cxn>
                <a:cxn ang="0">
                  <a:pos x="76" y="161"/>
                </a:cxn>
                <a:cxn ang="0">
                  <a:pos x="72" y="156"/>
                </a:cxn>
                <a:cxn ang="0">
                  <a:pos x="76" y="161"/>
                </a:cxn>
              </a:cxnLst>
              <a:rect l="0" t="0" r="r" b="b"/>
              <a:pathLst>
                <a:path w="220" h="161">
                  <a:moveTo>
                    <a:pt x="76" y="161"/>
                  </a:moveTo>
                  <a:cubicBezTo>
                    <a:pt x="66" y="151"/>
                    <a:pt x="50" y="147"/>
                    <a:pt x="50" y="131"/>
                  </a:cubicBezTo>
                  <a:cubicBezTo>
                    <a:pt x="50" y="102"/>
                    <a:pt x="81" y="73"/>
                    <a:pt x="103" y="67"/>
                  </a:cubicBezTo>
                  <a:cubicBezTo>
                    <a:pt x="111" y="64"/>
                    <a:pt x="113" y="55"/>
                    <a:pt x="125" y="55"/>
                  </a:cubicBezTo>
                  <a:cubicBezTo>
                    <a:pt x="130" y="55"/>
                    <a:pt x="132" y="46"/>
                    <a:pt x="134" y="45"/>
                  </a:cubicBezTo>
                  <a:cubicBezTo>
                    <a:pt x="149" y="38"/>
                    <a:pt x="160" y="41"/>
                    <a:pt x="175" y="34"/>
                  </a:cubicBezTo>
                  <a:cubicBezTo>
                    <a:pt x="186" y="28"/>
                    <a:pt x="220" y="26"/>
                    <a:pt x="220" y="11"/>
                  </a:cubicBezTo>
                  <a:cubicBezTo>
                    <a:pt x="220" y="6"/>
                    <a:pt x="208" y="0"/>
                    <a:pt x="203" y="0"/>
                  </a:cubicBezTo>
                  <a:cubicBezTo>
                    <a:pt x="181" y="0"/>
                    <a:pt x="160" y="25"/>
                    <a:pt x="136" y="25"/>
                  </a:cubicBezTo>
                  <a:cubicBezTo>
                    <a:pt x="131" y="25"/>
                    <a:pt x="128" y="19"/>
                    <a:pt x="123" y="19"/>
                  </a:cubicBezTo>
                  <a:cubicBezTo>
                    <a:pt x="115" y="19"/>
                    <a:pt x="115" y="25"/>
                    <a:pt x="109" y="25"/>
                  </a:cubicBezTo>
                  <a:cubicBezTo>
                    <a:pt x="93" y="25"/>
                    <a:pt x="80" y="46"/>
                    <a:pt x="69" y="46"/>
                  </a:cubicBezTo>
                  <a:cubicBezTo>
                    <a:pt x="63" y="46"/>
                    <a:pt x="58" y="49"/>
                    <a:pt x="52" y="49"/>
                  </a:cubicBezTo>
                  <a:cubicBezTo>
                    <a:pt x="49" y="49"/>
                    <a:pt x="47" y="52"/>
                    <a:pt x="47" y="53"/>
                  </a:cubicBezTo>
                  <a:cubicBezTo>
                    <a:pt x="47" y="56"/>
                    <a:pt x="50" y="58"/>
                    <a:pt x="50" y="61"/>
                  </a:cubicBezTo>
                  <a:cubicBezTo>
                    <a:pt x="50" y="74"/>
                    <a:pt x="27" y="80"/>
                    <a:pt x="27" y="88"/>
                  </a:cubicBezTo>
                  <a:cubicBezTo>
                    <a:pt x="27" y="91"/>
                    <a:pt x="34" y="92"/>
                    <a:pt x="34" y="98"/>
                  </a:cubicBezTo>
                  <a:cubicBezTo>
                    <a:pt x="27" y="99"/>
                    <a:pt x="13" y="102"/>
                    <a:pt x="13" y="110"/>
                  </a:cubicBezTo>
                  <a:cubicBezTo>
                    <a:pt x="13" y="115"/>
                    <a:pt x="13" y="117"/>
                    <a:pt x="13" y="117"/>
                  </a:cubicBezTo>
                  <a:cubicBezTo>
                    <a:pt x="13" y="124"/>
                    <a:pt x="0" y="124"/>
                    <a:pt x="0" y="134"/>
                  </a:cubicBezTo>
                  <a:cubicBezTo>
                    <a:pt x="0" y="139"/>
                    <a:pt x="8" y="143"/>
                    <a:pt x="8" y="143"/>
                  </a:cubicBezTo>
                  <a:cubicBezTo>
                    <a:pt x="8" y="143"/>
                    <a:pt x="20" y="143"/>
                    <a:pt x="21" y="143"/>
                  </a:cubicBezTo>
                  <a:cubicBezTo>
                    <a:pt x="28" y="145"/>
                    <a:pt x="24" y="152"/>
                    <a:pt x="27" y="158"/>
                  </a:cubicBezTo>
                  <a:cubicBezTo>
                    <a:pt x="28" y="161"/>
                    <a:pt x="35" y="158"/>
                    <a:pt x="39" y="158"/>
                  </a:cubicBezTo>
                  <a:cubicBezTo>
                    <a:pt x="40" y="158"/>
                    <a:pt x="41" y="161"/>
                    <a:pt x="42" y="161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5" y="159"/>
                    <a:pt x="73" y="157"/>
                    <a:pt x="72" y="156"/>
                  </a:cubicBezTo>
                  <a:lnTo>
                    <a:pt x="76" y="161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8" name="Freeform 146"/>
            <p:cNvSpPr>
              <a:spLocks/>
            </p:cNvSpPr>
            <p:nvPr/>
          </p:nvSpPr>
          <p:spPr bwMode="auto">
            <a:xfrm>
              <a:off x="4713288" y="1196975"/>
              <a:ext cx="2847975" cy="1058863"/>
            </a:xfrm>
            <a:custGeom>
              <a:avLst/>
              <a:gdLst/>
              <a:ahLst/>
              <a:cxnLst>
                <a:cxn ang="0">
                  <a:pos x="1515" y="585"/>
                </a:cxn>
                <a:cxn ang="0">
                  <a:pos x="1460" y="485"/>
                </a:cxn>
                <a:cxn ang="0">
                  <a:pos x="1665" y="408"/>
                </a:cxn>
                <a:cxn ang="0">
                  <a:pos x="1804" y="346"/>
                </a:cxn>
                <a:cxn ang="0">
                  <a:pos x="1709" y="465"/>
                </a:cxn>
                <a:cxn ang="0">
                  <a:pos x="1793" y="452"/>
                </a:cxn>
                <a:cxn ang="0">
                  <a:pos x="1989" y="313"/>
                </a:cxn>
                <a:cxn ang="0">
                  <a:pos x="2112" y="287"/>
                </a:cxn>
                <a:cxn ang="0">
                  <a:pos x="1892" y="194"/>
                </a:cxn>
                <a:cxn ang="0">
                  <a:pos x="1660" y="159"/>
                </a:cxn>
                <a:cxn ang="0">
                  <a:pos x="1435" y="157"/>
                </a:cxn>
                <a:cxn ang="0">
                  <a:pos x="1314" y="97"/>
                </a:cxn>
                <a:cxn ang="0">
                  <a:pos x="1102" y="104"/>
                </a:cxn>
                <a:cxn ang="0">
                  <a:pos x="1016" y="27"/>
                </a:cxn>
                <a:cxn ang="0">
                  <a:pos x="758" y="117"/>
                </a:cxn>
                <a:cxn ang="0">
                  <a:pos x="668" y="148"/>
                </a:cxn>
                <a:cxn ang="0">
                  <a:pos x="644" y="121"/>
                </a:cxn>
                <a:cxn ang="0">
                  <a:pos x="511" y="207"/>
                </a:cxn>
                <a:cxn ang="0">
                  <a:pos x="322" y="247"/>
                </a:cxn>
                <a:cxn ang="0">
                  <a:pos x="214" y="296"/>
                </a:cxn>
                <a:cxn ang="0">
                  <a:pos x="229" y="227"/>
                </a:cxn>
                <a:cxn ang="0">
                  <a:pos x="127" y="236"/>
                </a:cxn>
                <a:cxn ang="0">
                  <a:pos x="136" y="312"/>
                </a:cxn>
                <a:cxn ang="0">
                  <a:pos x="117" y="395"/>
                </a:cxn>
                <a:cxn ang="0">
                  <a:pos x="50" y="446"/>
                </a:cxn>
                <a:cxn ang="0">
                  <a:pos x="16" y="495"/>
                </a:cxn>
                <a:cxn ang="0">
                  <a:pos x="54" y="558"/>
                </a:cxn>
                <a:cxn ang="0">
                  <a:pos x="88" y="597"/>
                </a:cxn>
                <a:cxn ang="0">
                  <a:pos x="112" y="644"/>
                </a:cxn>
                <a:cxn ang="0">
                  <a:pos x="208" y="647"/>
                </a:cxn>
                <a:cxn ang="0">
                  <a:pos x="225" y="626"/>
                </a:cxn>
                <a:cxn ang="0">
                  <a:pos x="284" y="701"/>
                </a:cxn>
                <a:cxn ang="0">
                  <a:pos x="350" y="732"/>
                </a:cxn>
                <a:cxn ang="0">
                  <a:pos x="366" y="742"/>
                </a:cxn>
                <a:cxn ang="0">
                  <a:pos x="349" y="634"/>
                </a:cxn>
                <a:cxn ang="0">
                  <a:pos x="412" y="645"/>
                </a:cxn>
                <a:cxn ang="0">
                  <a:pos x="427" y="700"/>
                </a:cxn>
                <a:cxn ang="0">
                  <a:pos x="428" y="746"/>
                </a:cxn>
                <a:cxn ang="0">
                  <a:pos x="447" y="755"/>
                </a:cxn>
                <a:cxn ang="0">
                  <a:pos x="522" y="777"/>
                </a:cxn>
                <a:cxn ang="0">
                  <a:pos x="559" y="781"/>
                </a:cxn>
                <a:cxn ang="0">
                  <a:pos x="608" y="770"/>
                </a:cxn>
                <a:cxn ang="0">
                  <a:pos x="654" y="772"/>
                </a:cxn>
                <a:cxn ang="0">
                  <a:pos x="677" y="748"/>
                </a:cxn>
                <a:cxn ang="0">
                  <a:pos x="829" y="593"/>
                </a:cxn>
                <a:cxn ang="0">
                  <a:pos x="994" y="534"/>
                </a:cxn>
                <a:cxn ang="0">
                  <a:pos x="1224" y="569"/>
                </a:cxn>
                <a:cxn ang="0">
                  <a:pos x="1411" y="607"/>
                </a:cxn>
                <a:cxn ang="0">
                  <a:pos x="1400" y="655"/>
                </a:cxn>
              </a:cxnLst>
              <a:rect l="0" t="0" r="r" b="b"/>
              <a:pathLst>
                <a:path w="2139" h="795">
                  <a:moveTo>
                    <a:pt x="1398" y="684"/>
                  </a:moveTo>
                  <a:cubicBezTo>
                    <a:pt x="1398" y="684"/>
                    <a:pt x="1415" y="688"/>
                    <a:pt x="1429" y="688"/>
                  </a:cubicBezTo>
                  <a:cubicBezTo>
                    <a:pt x="1454" y="688"/>
                    <a:pt x="1478" y="635"/>
                    <a:pt x="1495" y="618"/>
                  </a:cubicBezTo>
                  <a:cubicBezTo>
                    <a:pt x="1502" y="610"/>
                    <a:pt x="1512" y="596"/>
                    <a:pt x="1515" y="585"/>
                  </a:cubicBezTo>
                  <a:cubicBezTo>
                    <a:pt x="1518" y="572"/>
                    <a:pt x="1513" y="564"/>
                    <a:pt x="1520" y="551"/>
                  </a:cubicBezTo>
                  <a:cubicBezTo>
                    <a:pt x="1522" y="547"/>
                    <a:pt x="1527" y="537"/>
                    <a:pt x="1527" y="527"/>
                  </a:cubicBezTo>
                  <a:cubicBezTo>
                    <a:pt x="1527" y="515"/>
                    <a:pt x="1508" y="492"/>
                    <a:pt x="1499" y="499"/>
                  </a:cubicBezTo>
                  <a:cubicBezTo>
                    <a:pt x="1473" y="518"/>
                    <a:pt x="1460" y="488"/>
                    <a:pt x="1460" y="485"/>
                  </a:cubicBezTo>
                  <a:cubicBezTo>
                    <a:pt x="1460" y="473"/>
                    <a:pt x="1483" y="459"/>
                    <a:pt x="1493" y="450"/>
                  </a:cubicBezTo>
                  <a:cubicBezTo>
                    <a:pt x="1506" y="436"/>
                    <a:pt x="1524" y="413"/>
                    <a:pt x="1543" y="408"/>
                  </a:cubicBezTo>
                  <a:cubicBezTo>
                    <a:pt x="1560" y="404"/>
                    <a:pt x="1613" y="399"/>
                    <a:pt x="1627" y="399"/>
                  </a:cubicBezTo>
                  <a:cubicBezTo>
                    <a:pt x="1645" y="399"/>
                    <a:pt x="1654" y="408"/>
                    <a:pt x="1665" y="408"/>
                  </a:cubicBezTo>
                  <a:cubicBezTo>
                    <a:pt x="1671" y="408"/>
                    <a:pt x="1675" y="408"/>
                    <a:pt x="1689" y="408"/>
                  </a:cubicBezTo>
                  <a:cubicBezTo>
                    <a:pt x="1696" y="379"/>
                    <a:pt x="1709" y="362"/>
                    <a:pt x="1740" y="362"/>
                  </a:cubicBezTo>
                  <a:cubicBezTo>
                    <a:pt x="1748" y="362"/>
                    <a:pt x="1751" y="360"/>
                    <a:pt x="1766" y="362"/>
                  </a:cubicBezTo>
                  <a:cubicBezTo>
                    <a:pt x="1759" y="368"/>
                    <a:pt x="1756" y="406"/>
                    <a:pt x="1804" y="346"/>
                  </a:cubicBezTo>
                  <a:cubicBezTo>
                    <a:pt x="1809" y="346"/>
                    <a:pt x="1832" y="355"/>
                    <a:pt x="1797" y="377"/>
                  </a:cubicBezTo>
                  <a:cubicBezTo>
                    <a:pt x="1785" y="385"/>
                    <a:pt x="1774" y="381"/>
                    <a:pt x="1766" y="393"/>
                  </a:cubicBezTo>
                  <a:cubicBezTo>
                    <a:pt x="1757" y="406"/>
                    <a:pt x="1749" y="423"/>
                    <a:pt x="1735" y="430"/>
                  </a:cubicBezTo>
                  <a:cubicBezTo>
                    <a:pt x="1724" y="436"/>
                    <a:pt x="1709" y="447"/>
                    <a:pt x="1709" y="465"/>
                  </a:cubicBezTo>
                  <a:cubicBezTo>
                    <a:pt x="1709" y="482"/>
                    <a:pt x="1714" y="535"/>
                    <a:pt x="1726" y="545"/>
                  </a:cubicBezTo>
                  <a:cubicBezTo>
                    <a:pt x="1735" y="532"/>
                    <a:pt x="1741" y="507"/>
                    <a:pt x="1760" y="503"/>
                  </a:cubicBezTo>
                  <a:cubicBezTo>
                    <a:pt x="1757" y="491"/>
                    <a:pt x="1777" y="488"/>
                    <a:pt x="1777" y="479"/>
                  </a:cubicBezTo>
                  <a:cubicBezTo>
                    <a:pt x="1777" y="464"/>
                    <a:pt x="1793" y="460"/>
                    <a:pt x="1793" y="452"/>
                  </a:cubicBezTo>
                  <a:cubicBezTo>
                    <a:pt x="1793" y="447"/>
                    <a:pt x="1788" y="442"/>
                    <a:pt x="1793" y="432"/>
                  </a:cubicBezTo>
                  <a:cubicBezTo>
                    <a:pt x="1828" y="356"/>
                    <a:pt x="1861" y="397"/>
                    <a:pt x="1874" y="397"/>
                  </a:cubicBezTo>
                  <a:cubicBezTo>
                    <a:pt x="1914" y="397"/>
                    <a:pt x="1941" y="347"/>
                    <a:pt x="1976" y="346"/>
                  </a:cubicBezTo>
                  <a:cubicBezTo>
                    <a:pt x="2041" y="345"/>
                    <a:pt x="1989" y="320"/>
                    <a:pt x="1989" y="313"/>
                  </a:cubicBezTo>
                  <a:cubicBezTo>
                    <a:pt x="1989" y="294"/>
                    <a:pt x="2015" y="297"/>
                    <a:pt x="2020" y="287"/>
                  </a:cubicBezTo>
                  <a:cubicBezTo>
                    <a:pt x="2022" y="282"/>
                    <a:pt x="2018" y="271"/>
                    <a:pt x="2026" y="271"/>
                  </a:cubicBezTo>
                  <a:cubicBezTo>
                    <a:pt x="2054" y="271"/>
                    <a:pt x="2077" y="309"/>
                    <a:pt x="2097" y="309"/>
                  </a:cubicBezTo>
                  <a:cubicBezTo>
                    <a:pt x="2106" y="309"/>
                    <a:pt x="2108" y="293"/>
                    <a:pt x="2112" y="287"/>
                  </a:cubicBezTo>
                  <a:cubicBezTo>
                    <a:pt x="2120" y="278"/>
                    <a:pt x="2127" y="279"/>
                    <a:pt x="2139" y="275"/>
                  </a:cubicBezTo>
                  <a:cubicBezTo>
                    <a:pt x="2123" y="254"/>
                    <a:pt x="2071" y="242"/>
                    <a:pt x="2046" y="227"/>
                  </a:cubicBezTo>
                  <a:cubicBezTo>
                    <a:pt x="2011" y="207"/>
                    <a:pt x="1965" y="185"/>
                    <a:pt x="1914" y="185"/>
                  </a:cubicBezTo>
                  <a:cubicBezTo>
                    <a:pt x="1900" y="185"/>
                    <a:pt x="1890" y="188"/>
                    <a:pt x="1892" y="194"/>
                  </a:cubicBezTo>
                  <a:cubicBezTo>
                    <a:pt x="1906" y="237"/>
                    <a:pt x="1872" y="194"/>
                    <a:pt x="1863" y="194"/>
                  </a:cubicBezTo>
                  <a:cubicBezTo>
                    <a:pt x="1762" y="192"/>
                    <a:pt x="1762" y="192"/>
                    <a:pt x="1762" y="192"/>
                  </a:cubicBezTo>
                  <a:cubicBezTo>
                    <a:pt x="1756" y="169"/>
                    <a:pt x="1741" y="161"/>
                    <a:pt x="1711" y="161"/>
                  </a:cubicBezTo>
                  <a:cubicBezTo>
                    <a:pt x="1695" y="161"/>
                    <a:pt x="1670" y="167"/>
                    <a:pt x="1660" y="159"/>
                  </a:cubicBezTo>
                  <a:cubicBezTo>
                    <a:pt x="1652" y="151"/>
                    <a:pt x="1651" y="141"/>
                    <a:pt x="1638" y="137"/>
                  </a:cubicBezTo>
                  <a:cubicBezTo>
                    <a:pt x="1611" y="128"/>
                    <a:pt x="1582" y="121"/>
                    <a:pt x="1548" y="121"/>
                  </a:cubicBezTo>
                  <a:cubicBezTo>
                    <a:pt x="1513" y="121"/>
                    <a:pt x="1509" y="140"/>
                    <a:pt x="1506" y="157"/>
                  </a:cubicBezTo>
                  <a:cubicBezTo>
                    <a:pt x="1473" y="157"/>
                    <a:pt x="1457" y="157"/>
                    <a:pt x="1435" y="157"/>
                  </a:cubicBezTo>
                  <a:cubicBezTo>
                    <a:pt x="1423" y="157"/>
                    <a:pt x="1421" y="147"/>
                    <a:pt x="1407" y="146"/>
                  </a:cubicBezTo>
                  <a:cubicBezTo>
                    <a:pt x="1405" y="152"/>
                    <a:pt x="1403" y="166"/>
                    <a:pt x="1396" y="166"/>
                  </a:cubicBezTo>
                  <a:cubicBezTo>
                    <a:pt x="1377" y="166"/>
                    <a:pt x="1369" y="143"/>
                    <a:pt x="1369" y="130"/>
                  </a:cubicBezTo>
                  <a:cubicBezTo>
                    <a:pt x="1369" y="127"/>
                    <a:pt x="1405" y="105"/>
                    <a:pt x="1314" y="97"/>
                  </a:cubicBezTo>
                  <a:cubicBezTo>
                    <a:pt x="1303" y="96"/>
                    <a:pt x="1296" y="101"/>
                    <a:pt x="1296" y="115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33" y="111"/>
                    <a:pt x="1157" y="102"/>
                    <a:pt x="1147" y="86"/>
                  </a:cubicBezTo>
                  <a:cubicBezTo>
                    <a:pt x="1089" y="133"/>
                    <a:pt x="1102" y="104"/>
                    <a:pt x="1102" y="104"/>
                  </a:cubicBezTo>
                  <a:cubicBezTo>
                    <a:pt x="1116" y="87"/>
                    <a:pt x="1249" y="51"/>
                    <a:pt x="1140" y="24"/>
                  </a:cubicBezTo>
                  <a:cubicBezTo>
                    <a:pt x="1094" y="24"/>
                    <a:pt x="1094" y="24"/>
                    <a:pt x="1094" y="24"/>
                  </a:cubicBezTo>
                  <a:cubicBezTo>
                    <a:pt x="1089" y="12"/>
                    <a:pt x="1079" y="0"/>
                    <a:pt x="1060" y="0"/>
                  </a:cubicBezTo>
                  <a:cubicBezTo>
                    <a:pt x="1038" y="0"/>
                    <a:pt x="1028" y="17"/>
                    <a:pt x="1016" y="27"/>
                  </a:cubicBezTo>
                  <a:cubicBezTo>
                    <a:pt x="1008" y="33"/>
                    <a:pt x="951" y="56"/>
                    <a:pt x="956" y="35"/>
                  </a:cubicBezTo>
                  <a:cubicBezTo>
                    <a:pt x="941" y="40"/>
                    <a:pt x="879" y="44"/>
                    <a:pt x="847" y="73"/>
                  </a:cubicBezTo>
                  <a:cubicBezTo>
                    <a:pt x="840" y="79"/>
                    <a:pt x="838" y="97"/>
                    <a:pt x="828" y="97"/>
                  </a:cubicBezTo>
                  <a:cubicBezTo>
                    <a:pt x="813" y="97"/>
                    <a:pt x="758" y="92"/>
                    <a:pt x="758" y="117"/>
                  </a:cubicBezTo>
                  <a:cubicBezTo>
                    <a:pt x="758" y="122"/>
                    <a:pt x="763" y="128"/>
                    <a:pt x="765" y="135"/>
                  </a:cubicBezTo>
                  <a:cubicBezTo>
                    <a:pt x="755" y="141"/>
                    <a:pt x="752" y="135"/>
                    <a:pt x="721" y="135"/>
                  </a:cubicBezTo>
                  <a:cubicBezTo>
                    <a:pt x="695" y="170"/>
                    <a:pt x="697" y="129"/>
                    <a:pt x="691" y="121"/>
                  </a:cubicBezTo>
                  <a:cubicBezTo>
                    <a:pt x="689" y="136"/>
                    <a:pt x="679" y="142"/>
                    <a:pt x="668" y="148"/>
                  </a:cubicBezTo>
                  <a:cubicBezTo>
                    <a:pt x="671" y="160"/>
                    <a:pt x="690" y="173"/>
                    <a:pt x="677" y="188"/>
                  </a:cubicBezTo>
                  <a:cubicBezTo>
                    <a:pt x="667" y="198"/>
                    <a:pt x="695" y="230"/>
                    <a:pt x="680" y="230"/>
                  </a:cubicBezTo>
                  <a:cubicBezTo>
                    <a:pt x="662" y="230"/>
                    <a:pt x="657" y="164"/>
                    <a:pt x="657" y="150"/>
                  </a:cubicBezTo>
                  <a:cubicBezTo>
                    <a:pt x="657" y="135"/>
                    <a:pt x="681" y="129"/>
                    <a:pt x="644" y="121"/>
                  </a:cubicBezTo>
                  <a:cubicBezTo>
                    <a:pt x="625" y="118"/>
                    <a:pt x="589" y="149"/>
                    <a:pt x="589" y="166"/>
                  </a:cubicBezTo>
                  <a:cubicBezTo>
                    <a:pt x="589" y="186"/>
                    <a:pt x="598" y="199"/>
                    <a:pt x="608" y="210"/>
                  </a:cubicBezTo>
                  <a:cubicBezTo>
                    <a:pt x="633" y="248"/>
                    <a:pt x="574" y="205"/>
                    <a:pt x="552" y="200"/>
                  </a:cubicBezTo>
                  <a:cubicBezTo>
                    <a:pt x="492" y="184"/>
                    <a:pt x="512" y="204"/>
                    <a:pt x="511" y="207"/>
                  </a:cubicBezTo>
                  <a:cubicBezTo>
                    <a:pt x="509" y="241"/>
                    <a:pt x="495" y="214"/>
                    <a:pt x="487" y="214"/>
                  </a:cubicBezTo>
                  <a:cubicBezTo>
                    <a:pt x="473" y="214"/>
                    <a:pt x="445" y="233"/>
                    <a:pt x="425" y="223"/>
                  </a:cubicBezTo>
                  <a:cubicBezTo>
                    <a:pt x="415" y="197"/>
                    <a:pt x="349" y="256"/>
                    <a:pt x="333" y="256"/>
                  </a:cubicBezTo>
                  <a:cubicBezTo>
                    <a:pt x="327" y="256"/>
                    <a:pt x="320" y="252"/>
                    <a:pt x="322" y="247"/>
                  </a:cubicBezTo>
                  <a:cubicBezTo>
                    <a:pt x="329" y="229"/>
                    <a:pt x="319" y="191"/>
                    <a:pt x="300" y="249"/>
                  </a:cubicBezTo>
                  <a:cubicBezTo>
                    <a:pt x="298" y="253"/>
                    <a:pt x="306" y="255"/>
                    <a:pt x="306" y="263"/>
                  </a:cubicBezTo>
                  <a:cubicBezTo>
                    <a:pt x="306" y="278"/>
                    <a:pt x="283" y="267"/>
                    <a:pt x="271" y="271"/>
                  </a:cubicBezTo>
                  <a:cubicBezTo>
                    <a:pt x="259" y="275"/>
                    <a:pt x="265" y="318"/>
                    <a:pt x="214" y="296"/>
                  </a:cubicBezTo>
                  <a:cubicBezTo>
                    <a:pt x="214" y="313"/>
                    <a:pt x="214" y="313"/>
                    <a:pt x="214" y="313"/>
                  </a:cubicBezTo>
                  <a:cubicBezTo>
                    <a:pt x="189" y="311"/>
                    <a:pt x="192" y="284"/>
                    <a:pt x="183" y="271"/>
                  </a:cubicBezTo>
                  <a:cubicBezTo>
                    <a:pt x="202" y="271"/>
                    <a:pt x="212" y="271"/>
                    <a:pt x="230" y="276"/>
                  </a:cubicBezTo>
                  <a:cubicBezTo>
                    <a:pt x="255" y="282"/>
                    <a:pt x="304" y="251"/>
                    <a:pt x="229" y="227"/>
                  </a:cubicBezTo>
                  <a:cubicBezTo>
                    <a:pt x="208" y="220"/>
                    <a:pt x="160" y="196"/>
                    <a:pt x="145" y="196"/>
                  </a:cubicBezTo>
                  <a:cubicBezTo>
                    <a:pt x="144" y="196"/>
                    <a:pt x="144" y="195"/>
                    <a:pt x="133" y="196"/>
                  </a:cubicBezTo>
                  <a:cubicBezTo>
                    <a:pt x="127" y="200"/>
                    <a:pt x="111" y="208"/>
                    <a:pt x="111" y="219"/>
                  </a:cubicBezTo>
                  <a:cubicBezTo>
                    <a:pt x="111" y="227"/>
                    <a:pt x="127" y="226"/>
                    <a:pt x="127" y="236"/>
                  </a:cubicBezTo>
                  <a:cubicBezTo>
                    <a:pt x="127" y="244"/>
                    <a:pt x="119" y="247"/>
                    <a:pt x="119" y="255"/>
                  </a:cubicBezTo>
                  <a:cubicBezTo>
                    <a:pt x="119" y="263"/>
                    <a:pt x="128" y="268"/>
                    <a:pt x="128" y="277"/>
                  </a:cubicBezTo>
                  <a:cubicBezTo>
                    <a:pt x="128" y="282"/>
                    <a:pt x="123" y="285"/>
                    <a:pt x="123" y="290"/>
                  </a:cubicBezTo>
                  <a:cubicBezTo>
                    <a:pt x="123" y="300"/>
                    <a:pt x="136" y="302"/>
                    <a:pt x="136" y="312"/>
                  </a:cubicBezTo>
                  <a:cubicBezTo>
                    <a:pt x="136" y="315"/>
                    <a:pt x="132" y="317"/>
                    <a:pt x="131" y="318"/>
                  </a:cubicBezTo>
                  <a:cubicBezTo>
                    <a:pt x="135" y="325"/>
                    <a:pt x="145" y="327"/>
                    <a:pt x="145" y="336"/>
                  </a:cubicBezTo>
                  <a:cubicBezTo>
                    <a:pt x="145" y="351"/>
                    <a:pt x="115" y="367"/>
                    <a:pt x="106" y="379"/>
                  </a:cubicBezTo>
                  <a:cubicBezTo>
                    <a:pt x="109" y="384"/>
                    <a:pt x="114" y="387"/>
                    <a:pt x="117" y="395"/>
                  </a:cubicBezTo>
                  <a:cubicBezTo>
                    <a:pt x="111" y="398"/>
                    <a:pt x="98" y="405"/>
                    <a:pt x="92" y="405"/>
                  </a:cubicBezTo>
                  <a:cubicBezTo>
                    <a:pt x="85" y="405"/>
                    <a:pt x="80" y="402"/>
                    <a:pt x="70" y="402"/>
                  </a:cubicBezTo>
                  <a:cubicBezTo>
                    <a:pt x="61" y="402"/>
                    <a:pt x="38" y="410"/>
                    <a:pt x="45" y="417"/>
                  </a:cubicBezTo>
                  <a:cubicBezTo>
                    <a:pt x="67" y="438"/>
                    <a:pt x="56" y="446"/>
                    <a:pt x="50" y="446"/>
                  </a:cubicBezTo>
                  <a:cubicBezTo>
                    <a:pt x="42" y="446"/>
                    <a:pt x="40" y="435"/>
                    <a:pt x="33" y="435"/>
                  </a:cubicBezTo>
                  <a:cubicBezTo>
                    <a:pt x="25" y="435"/>
                    <a:pt x="15" y="455"/>
                    <a:pt x="15" y="465"/>
                  </a:cubicBezTo>
                  <a:cubicBezTo>
                    <a:pt x="15" y="483"/>
                    <a:pt x="1" y="480"/>
                    <a:pt x="0" y="496"/>
                  </a:cubicBezTo>
                  <a:cubicBezTo>
                    <a:pt x="6" y="495"/>
                    <a:pt x="11" y="495"/>
                    <a:pt x="16" y="495"/>
                  </a:cubicBezTo>
                  <a:cubicBezTo>
                    <a:pt x="24" y="495"/>
                    <a:pt x="30" y="494"/>
                    <a:pt x="39" y="494"/>
                  </a:cubicBezTo>
                  <a:cubicBezTo>
                    <a:pt x="48" y="494"/>
                    <a:pt x="52" y="510"/>
                    <a:pt x="52" y="520"/>
                  </a:cubicBezTo>
                  <a:cubicBezTo>
                    <a:pt x="52" y="526"/>
                    <a:pt x="46" y="529"/>
                    <a:pt x="46" y="535"/>
                  </a:cubicBezTo>
                  <a:cubicBezTo>
                    <a:pt x="46" y="544"/>
                    <a:pt x="54" y="550"/>
                    <a:pt x="54" y="558"/>
                  </a:cubicBezTo>
                  <a:cubicBezTo>
                    <a:pt x="54" y="563"/>
                    <a:pt x="46" y="565"/>
                    <a:pt x="44" y="568"/>
                  </a:cubicBezTo>
                  <a:cubicBezTo>
                    <a:pt x="39" y="576"/>
                    <a:pt x="37" y="583"/>
                    <a:pt x="37" y="593"/>
                  </a:cubicBezTo>
                  <a:cubicBezTo>
                    <a:pt x="37" y="606"/>
                    <a:pt x="46" y="603"/>
                    <a:pt x="56" y="603"/>
                  </a:cubicBezTo>
                  <a:cubicBezTo>
                    <a:pt x="70" y="603"/>
                    <a:pt x="77" y="597"/>
                    <a:pt x="88" y="597"/>
                  </a:cubicBezTo>
                  <a:cubicBezTo>
                    <a:pt x="99" y="597"/>
                    <a:pt x="97" y="620"/>
                    <a:pt x="108" y="620"/>
                  </a:cubicBezTo>
                  <a:cubicBezTo>
                    <a:pt x="108" y="638"/>
                    <a:pt x="108" y="638"/>
                    <a:pt x="108" y="638"/>
                  </a:cubicBezTo>
                  <a:cubicBezTo>
                    <a:pt x="108" y="640"/>
                    <a:pt x="109" y="641"/>
                    <a:pt x="110" y="641"/>
                  </a:cubicBezTo>
                  <a:cubicBezTo>
                    <a:pt x="112" y="644"/>
                    <a:pt x="112" y="644"/>
                    <a:pt x="112" y="644"/>
                  </a:cubicBezTo>
                  <a:cubicBezTo>
                    <a:pt x="114" y="644"/>
                    <a:pt x="120" y="642"/>
                    <a:pt x="123" y="641"/>
                  </a:cubicBezTo>
                  <a:cubicBezTo>
                    <a:pt x="132" y="639"/>
                    <a:pt x="133" y="627"/>
                    <a:pt x="143" y="627"/>
                  </a:cubicBezTo>
                  <a:cubicBezTo>
                    <a:pt x="151" y="627"/>
                    <a:pt x="171" y="660"/>
                    <a:pt x="177" y="660"/>
                  </a:cubicBezTo>
                  <a:cubicBezTo>
                    <a:pt x="184" y="660"/>
                    <a:pt x="205" y="651"/>
                    <a:pt x="208" y="647"/>
                  </a:cubicBezTo>
                  <a:cubicBezTo>
                    <a:pt x="207" y="647"/>
                    <a:pt x="196" y="645"/>
                    <a:pt x="196" y="645"/>
                  </a:cubicBezTo>
                  <a:cubicBezTo>
                    <a:pt x="194" y="645"/>
                    <a:pt x="189" y="644"/>
                    <a:pt x="189" y="638"/>
                  </a:cubicBezTo>
                  <a:cubicBezTo>
                    <a:pt x="189" y="635"/>
                    <a:pt x="221" y="623"/>
                    <a:pt x="233" y="619"/>
                  </a:cubicBezTo>
                  <a:cubicBezTo>
                    <a:pt x="233" y="619"/>
                    <a:pt x="227" y="625"/>
                    <a:pt x="225" y="626"/>
                  </a:cubicBezTo>
                  <a:cubicBezTo>
                    <a:pt x="226" y="629"/>
                    <a:pt x="237" y="641"/>
                    <a:pt x="211" y="647"/>
                  </a:cubicBezTo>
                  <a:cubicBezTo>
                    <a:pt x="223" y="673"/>
                    <a:pt x="273" y="669"/>
                    <a:pt x="273" y="704"/>
                  </a:cubicBezTo>
                  <a:cubicBezTo>
                    <a:pt x="275" y="703"/>
                    <a:pt x="275" y="703"/>
                    <a:pt x="275" y="703"/>
                  </a:cubicBezTo>
                  <a:cubicBezTo>
                    <a:pt x="278" y="702"/>
                    <a:pt x="280" y="701"/>
                    <a:pt x="284" y="701"/>
                  </a:cubicBezTo>
                  <a:cubicBezTo>
                    <a:pt x="298" y="701"/>
                    <a:pt x="297" y="710"/>
                    <a:pt x="302" y="719"/>
                  </a:cubicBezTo>
                  <a:cubicBezTo>
                    <a:pt x="303" y="721"/>
                    <a:pt x="312" y="726"/>
                    <a:pt x="312" y="726"/>
                  </a:cubicBezTo>
                  <a:cubicBezTo>
                    <a:pt x="320" y="729"/>
                    <a:pt x="322" y="742"/>
                    <a:pt x="335" y="742"/>
                  </a:cubicBezTo>
                  <a:cubicBezTo>
                    <a:pt x="344" y="742"/>
                    <a:pt x="344" y="734"/>
                    <a:pt x="350" y="732"/>
                  </a:cubicBezTo>
                  <a:cubicBezTo>
                    <a:pt x="354" y="731"/>
                    <a:pt x="353" y="731"/>
                    <a:pt x="357" y="731"/>
                  </a:cubicBezTo>
                  <a:cubicBezTo>
                    <a:pt x="358" y="733"/>
                    <a:pt x="358" y="737"/>
                    <a:pt x="360" y="739"/>
                  </a:cubicBezTo>
                  <a:cubicBezTo>
                    <a:pt x="359" y="739"/>
                    <a:pt x="360" y="740"/>
                    <a:pt x="360" y="741"/>
                  </a:cubicBezTo>
                  <a:cubicBezTo>
                    <a:pt x="366" y="742"/>
                    <a:pt x="366" y="742"/>
                    <a:pt x="366" y="742"/>
                  </a:cubicBezTo>
                  <a:cubicBezTo>
                    <a:pt x="371" y="735"/>
                    <a:pt x="371" y="724"/>
                    <a:pt x="378" y="721"/>
                  </a:cubicBezTo>
                  <a:cubicBezTo>
                    <a:pt x="366" y="714"/>
                    <a:pt x="348" y="688"/>
                    <a:pt x="348" y="673"/>
                  </a:cubicBezTo>
                  <a:cubicBezTo>
                    <a:pt x="348" y="668"/>
                    <a:pt x="338" y="662"/>
                    <a:pt x="338" y="655"/>
                  </a:cubicBezTo>
                  <a:cubicBezTo>
                    <a:pt x="338" y="653"/>
                    <a:pt x="347" y="637"/>
                    <a:pt x="349" y="634"/>
                  </a:cubicBezTo>
                  <a:cubicBezTo>
                    <a:pt x="351" y="635"/>
                    <a:pt x="365" y="628"/>
                    <a:pt x="366" y="627"/>
                  </a:cubicBezTo>
                  <a:cubicBezTo>
                    <a:pt x="377" y="623"/>
                    <a:pt x="384" y="620"/>
                    <a:pt x="399" y="620"/>
                  </a:cubicBezTo>
                  <a:cubicBezTo>
                    <a:pt x="423" y="620"/>
                    <a:pt x="427" y="631"/>
                    <a:pt x="436" y="645"/>
                  </a:cubicBezTo>
                  <a:cubicBezTo>
                    <a:pt x="429" y="650"/>
                    <a:pt x="420" y="645"/>
                    <a:pt x="412" y="645"/>
                  </a:cubicBezTo>
                  <a:cubicBezTo>
                    <a:pt x="400" y="645"/>
                    <a:pt x="383" y="656"/>
                    <a:pt x="381" y="656"/>
                  </a:cubicBezTo>
                  <a:cubicBezTo>
                    <a:pt x="382" y="665"/>
                    <a:pt x="389" y="664"/>
                    <a:pt x="391" y="669"/>
                  </a:cubicBezTo>
                  <a:cubicBezTo>
                    <a:pt x="400" y="684"/>
                    <a:pt x="412" y="690"/>
                    <a:pt x="412" y="707"/>
                  </a:cubicBezTo>
                  <a:cubicBezTo>
                    <a:pt x="415" y="705"/>
                    <a:pt x="424" y="701"/>
                    <a:pt x="427" y="700"/>
                  </a:cubicBezTo>
                  <a:cubicBezTo>
                    <a:pt x="427" y="707"/>
                    <a:pt x="434" y="710"/>
                    <a:pt x="434" y="717"/>
                  </a:cubicBezTo>
                  <a:cubicBezTo>
                    <a:pt x="421" y="717"/>
                    <a:pt x="421" y="717"/>
                    <a:pt x="421" y="717"/>
                  </a:cubicBezTo>
                  <a:cubicBezTo>
                    <a:pt x="417" y="717"/>
                    <a:pt x="413" y="721"/>
                    <a:pt x="412" y="728"/>
                  </a:cubicBezTo>
                  <a:cubicBezTo>
                    <a:pt x="421" y="729"/>
                    <a:pt x="428" y="738"/>
                    <a:pt x="428" y="746"/>
                  </a:cubicBezTo>
                  <a:cubicBezTo>
                    <a:pt x="428" y="751"/>
                    <a:pt x="424" y="753"/>
                    <a:pt x="424" y="757"/>
                  </a:cubicBezTo>
                  <a:cubicBezTo>
                    <a:pt x="424" y="761"/>
                    <a:pt x="428" y="765"/>
                    <a:pt x="429" y="766"/>
                  </a:cubicBezTo>
                  <a:cubicBezTo>
                    <a:pt x="429" y="762"/>
                    <a:pt x="434" y="762"/>
                    <a:pt x="438" y="761"/>
                  </a:cubicBezTo>
                  <a:cubicBezTo>
                    <a:pt x="443" y="759"/>
                    <a:pt x="442" y="757"/>
                    <a:pt x="447" y="755"/>
                  </a:cubicBezTo>
                  <a:cubicBezTo>
                    <a:pt x="455" y="752"/>
                    <a:pt x="460" y="754"/>
                    <a:pt x="466" y="749"/>
                  </a:cubicBezTo>
                  <a:cubicBezTo>
                    <a:pt x="476" y="755"/>
                    <a:pt x="482" y="755"/>
                    <a:pt x="491" y="758"/>
                  </a:cubicBezTo>
                  <a:cubicBezTo>
                    <a:pt x="502" y="762"/>
                    <a:pt x="505" y="772"/>
                    <a:pt x="518" y="772"/>
                  </a:cubicBezTo>
                  <a:cubicBezTo>
                    <a:pt x="518" y="774"/>
                    <a:pt x="521" y="775"/>
                    <a:pt x="522" y="777"/>
                  </a:cubicBezTo>
                  <a:cubicBezTo>
                    <a:pt x="523" y="781"/>
                    <a:pt x="522" y="787"/>
                    <a:pt x="524" y="793"/>
                  </a:cubicBezTo>
                  <a:cubicBezTo>
                    <a:pt x="529" y="787"/>
                    <a:pt x="533" y="795"/>
                    <a:pt x="537" y="795"/>
                  </a:cubicBezTo>
                  <a:cubicBezTo>
                    <a:pt x="542" y="795"/>
                    <a:pt x="544" y="791"/>
                    <a:pt x="547" y="788"/>
                  </a:cubicBezTo>
                  <a:cubicBezTo>
                    <a:pt x="551" y="784"/>
                    <a:pt x="556" y="784"/>
                    <a:pt x="559" y="781"/>
                  </a:cubicBezTo>
                  <a:cubicBezTo>
                    <a:pt x="567" y="773"/>
                    <a:pt x="568" y="762"/>
                    <a:pt x="579" y="762"/>
                  </a:cubicBezTo>
                  <a:cubicBezTo>
                    <a:pt x="583" y="762"/>
                    <a:pt x="582" y="764"/>
                    <a:pt x="586" y="764"/>
                  </a:cubicBezTo>
                  <a:cubicBezTo>
                    <a:pt x="587" y="769"/>
                    <a:pt x="597" y="765"/>
                    <a:pt x="600" y="765"/>
                  </a:cubicBezTo>
                  <a:cubicBezTo>
                    <a:pt x="604" y="765"/>
                    <a:pt x="605" y="770"/>
                    <a:pt x="608" y="770"/>
                  </a:cubicBezTo>
                  <a:cubicBezTo>
                    <a:pt x="617" y="770"/>
                    <a:pt x="624" y="765"/>
                    <a:pt x="627" y="759"/>
                  </a:cubicBezTo>
                  <a:cubicBezTo>
                    <a:pt x="628" y="760"/>
                    <a:pt x="629" y="759"/>
                    <a:pt x="630" y="759"/>
                  </a:cubicBezTo>
                  <a:cubicBezTo>
                    <a:pt x="634" y="759"/>
                    <a:pt x="636" y="749"/>
                    <a:pt x="645" y="749"/>
                  </a:cubicBezTo>
                  <a:cubicBezTo>
                    <a:pt x="654" y="749"/>
                    <a:pt x="644" y="772"/>
                    <a:pt x="654" y="772"/>
                  </a:cubicBezTo>
                  <a:cubicBezTo>
                    <a:pt x="664" y="772"/>
                    <a:pt x="668" y="764"/>
                    <a:pt x="677" y="764"/>
                  </a:cubicBezTo>
                  <a:cubicBezTo>
                    <a:pt x="682" y="764"/>
                    <a:pt x="686" y="764"/>
                    <a:pt x="692" y="765"/>
                  </a:cubicBezTo>
                  <a:cubicBezTo>
                    <a:pt x="692" y="763"/>
                    <a:pt x="692" y="763"/>
                    <a:pt x="692" y="763"/>
                  </a:cubicBezTo>
                  <a:cubicBezTo>
                    <a:pt x="690" y="753"/>
                    <a:pt x="688" y="750"/>
                    <a:pt x="677" y="748"/>
                  </a:cubicBezTo>
                  <a:cubicBezTo>
                    <a:pt x="678" y="739"/>
                    <a:pt x="687" y="719"/>
                    <a:pt x="694" y="719"/>
                  </a:cubicBezTo>
                  <a:cubicBezTo>
                    <a:pt x="735" y="719"/>
                    <a:pt x="763" y="698"/>
                    <a:pt x="763" y="649"/>
                  </a:cubicBezTo>
                  <a:cubicBezTo>
                    <a:pt x="785" y="645"/>
                    <a:pt x="787" y="618"/>
                    <a:pt x="800" y="620"/>
                  </a:cubicBezTo>
                  <a:cubicBezTo>
                    <a:pt x="836" y="624"/>
                    <a:pt x="822" y="600"/>
                    <a:pt x="829" y="593"/>
                  </a:cubicBezTo>
                  <a:cubicBezTo>
                    <a:pt x="847" y="578"/>
                    <a:pt x="873" y="578"/>
                    <a:pt x="895" y="565"/>
                  </a:cubicBezTo>
                  <a:cubicBezTo>
                    <a:pt x="898" y="563"/>
                    <a:pt x="906" y="554"/>
                    <a:pt x="913" y="554"/>
                  </a:cubicBezTo>
                  <a:cubicBezTo>
                    <a:pt x="924" y="554"/>
                    <a:pt x="943" y="567"/>
                    <a:pt x="961" y="567"/>
                  </a:cubicBezTo>
                  <a:cubicBezTo>
                    <a:pt x="986" y="567"/>
                    <a:pt x="981" y="534"/>
                    <a:pt x="994" y="534"/>
                  </a:cubicBezTo>
                  <a:cubicBezTo>
                    <a:pt x="1002" y="534"/>
                    <a:pt x="1029" y="538"/>
                    <a:pt x="1032" y="545"/>
                  </a:cubicBezTo>
                  <a:cubicBezTo>
                    <a:pt x="1042" y="573"/>
                    <a:pt x="1060" y="558"/>
                    <a:pt x="1072" y="558"/>
                  </a:cubicBezTo>
                  <a:cubicBezTo>
                    <a:pt x="1099" y="558"/>
                    <a:pt x="1107" y="580"/>
                    <a:pt x="1135" y="580"/>
                  </a:cubicBezTo>
                  <a:cubicBezTo>
                    <a:pt x="1160" y="580"/>
                    <a:pt x="1192" y="557"/>
                    <a:pt x="1224" y="569"/>
                  </a:cubicBezTo>
                  <a:cubicBezTo>
                    <a:pt x="1266" y="586"/>
                    <a:pt x="1245" y="512"/>
                    <a:pt x="1301" y="512"/>
                  </a:cubicBezTo>
                  <a:cubicBezTo>
                    <a:pt x="1340" y="512"/>
                    <a:pt x="1339" y="543"/>
                    <a:pt x="1354" y="567"/>
                  </a:cubicBezTo>
                  <a:cubicBezTo>
                    <a:pt x="1360" y="576"/>
                    <a:pt x="1379" y="577"/>
                    <a:pt x="1387" y="585"/>
                  </a:cubicBezTo>
                  <a:cubicBezTo>
                    <a:pt x="1393" y="590"/>
                    <a:pt x="1398" y="607"/>
                    <a:pt x="1411" y="607"/>
                  </a:cubicBezTo>
                  <a:cubicBezTo>
                    <a:pt x="1426" y="607"/>
                    <a:pt x="1428" y="593"/>
                    <a:pt x="1446" y="593"/>
                  </a:cubicBezTo>
                  <a:cubicBezTo>
                    <a:pt x="1446" y="604"/>
                    <a:pt x="1446" y="604"/>
                    <a:pt x="1446" y="604"/>
                  </a:cubicBezTo>
                  <a:cubicBezTo>
                    <a:pt x="1437" y="614"/>
                    <a:pt x="1433" y="638"/>
                    <a:pt x="1422" y="644"/>
                  </a:cubicBezTo>
                  <a:cubicBezTo>
                    <a:pt x="1412" y="650"/>
                    <a:pt x="1394" y="651"/>
                    <a:pt x="1400" y="655"/>
                  </a:cubicBezTo>
                  <a:cubicBezTo>
                    <a:pt x="1415" y="665"/>
                    <a:pt x="1398" y="684"/>
                    <a:pt x="1398" y="684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9" name="Freeform 147"/>
            <p:cNvSpPr>
              <a:spLocks/>
            </p:cNvSpPr>
            <p:nvPr/>
          </p:nvSpPr>
          <p:spPr bwMode="auto">
            <a:xfrm>
              <a:off x="5614988" y="1879600"/>
              <a:ext cx="1023938" cy="646113"/>
            </a:xfrm>
            <a:custGeom>
              <a:avLst/>
              <a:gdLst/>
              <a:ahLst/>
              <a:cxnLst>
                <a:cxn ang="0">
                  <a:pos x="585" y="307"/>
                </a:cxn>
                <a:cxn ang="0">
                  <a:pos x="573" y="287"/>
                </a:cxn>
                <a:cxn ang="0">
                  <a:pos x="614" y="256"/>
                </a:cxn>
                <a:cxn ang="0">
                  <a:pos x="588" y="246"/>
                </a:cxn>
                <a:cxn ang="0">
                  <a:pos x="570" y="255"/>
                </a:cxn>
                <a:cxn ang="0">
                  <a:pos x="552" y="236"/>
                </a:cxn>
                <a:cxn ang="0">
                  <a:pos x="590" y="209"/>
                </a:cxn>
                <a:cxn ang="0">
                  <a:pos x="606" y="212"/>
                </a:cxn>
                <a:cxn ang="0">
                  <a:pos x="634" y="216"/>
                </a:cxn>
                <a:cxn ang="0">
                  <a:pos x="648" y="231"/>
                </a:cxn>
                <a:cxn ang="0">
                  <a:pos x="648" y="248"/>
                </a:cxn>
                <a:cxn ang="0">
                  <a:pos x="666" y="254"/>
                </a:cxn>
                <a:cxn ang="0">
                  <a:pos x="659" y="264"/>
                </a:cxn>
                <a:cxn ang="0">
                  <a:pos x="665" y="275"/>
                </a:cxn>
                <a:cxn ang="0">
                  <a:pos x="664" y="290"/>
                </a:cxn>
                <a:cxn ang="0">
                  <a:pos x="668" y="295"/>
                </a:cxn>
                <a:cxn ang="0">
                  <a:pos x="690" y="286"/>
                </a:cxn>
                <a:cxn ang="0">
                  <a:pos x="683" y="232"/>
                </a:cxn>
                <a:cxn ang="0">
                  <a:pos x="688" y="210"/>
                </a:cxn>
                <a:cxn ang="0">
                  <a:pos x="721" y="172"/>
                </a:cxn>
                <a:cxn ang="0">
                  <a:pos x="745" y="132"/>
                </a:cxn>
                <a:cxn ang="0">
                  <a:pos x="769" y="81"/>
                </a:cxn>
                <a:cxn ang="0">
                  <a:pos x="710" y="73"/>
                </a:cxn>
                <a:cxn ang="0">
                  <a:pos x="624" y="0"/>
                </a:cxn>
                <a:cxn ang="0">
                  <a:pos x="458" y="68"/>
                </a:cxn>
                <a:cxn ang="0">
                  <a:pos x="355" y="33"/>
                </a:cxn>
                <a:cxn ang="0">
                  <a:pos x="284" y="55"/>
                </a:cxn>
                <a:cxn ang="0">
                  <a:pos x="218" y="53"/>
                </a:cxn>
                <a:cxn ang="0">
                  <a:pos x="123" y="108"/>
                </a:cxn>
                <a:cxn ang="0">
                  <a:pos x="17" y="207"/>
                </a:cxn>
                <a:cxn ang="0">
                  <a:pos x="15" y="251"/>
                </a:cxn>
                <a:cxn ang="0">
                  <a:pos x="25" y="261"/>
                </a:cxn>
                <a:cxn ang="0">
                  <a:pos x="50" y="280"/>
                </a:cxn>
                <a:cxn ang="0">
                  <a:pos x="83" y="284"/>
                </a:cxn>
                <a:cxn ang="0">
                  <a:pos x="73" y="317"/>
                </a:cxn>
                <a:cxn ang="0">
                  <a:pos x="63" y="326"/>
                </a:cxn>
                <a:cxn ang="0">
                  <a:pos x="73" y="343"/>
                </a:cxn>
                <a:cxn ang="0">
                  <a:pos x="110" y="357"/>
                </a:cxn>
                <a:cxn ang="0">
                  <a:pos x="132" y="373"/>
                </a:cxn>
                <a:cxn ang="0">
                  <a:pos x="160" y="384"/>
                </a:cxn>
                <a:cxn ang="0">
                  <a:pos x="186" y="382"/>
                </a:cxn>
                <a:cxn ang="0">
                  <a:pos x="210" y="381"/>
                </a:cxn>
                <a:cxn ang="0">
                  <a:pos x="255" y="372"/>
                </a:cxn>
                <a:cxn ang="0">
                  <a:pos x="275" y="366"/>
                </a:cxn>
                <a:cxn ang="0">
                  <a:pos x="282" y="362"/>
                </a:cxn>
                <a:cxn ang="0">
                  <a:pos x="316" y="400"/>
                </a:cxn>
                <a:cxn ang="0">
                  <a:pos x="306" y="439"/>
                </a:cxn>
                <a:cxn ang="0">
                  <a:pos x="324" y="450"/>
                </a:cxn>
                <a:cxn ang="0">
                  <a:pos x="346" y="467"/>
                </a:cxn>
                <a:cxn ang="0">
                  <a:pos x="351" y="472"/>
                </a:cxn>
                <a:cxn ang="0">
                  <a:pos x="353" y="457"/>
                </a:cxn>
                <a:cxn ang="0">
                  <a:pos x="379" y="454"/>
                </a:cxn>
                <a:cxn ang="0">
                  <a:pos x="416" y="453"/>
                </a:cxn>
                <a:cxn ang="0">
                  <a:pos x="431" y="470"/>
                </a:cxn>
                <a:cxn ang="0">
                  <a:pos x="454" y="486"/>
                </a:cxn>
                <a:cxn ang="0">
                  <a:pos x="476" y="470"/>
                </a:cxn>
                <a:cxn ang="0">
                  <a:pos x="503" y="455"/>
                </a:cxn>
                <a:cxn ang="0">
                  <a:pos x="552" y="439"/>
                </a:cxn>
                <a:cxn ang="0">
                  <a:pos x="576" y="406"/>
                </a:cxn>
                <a:cxn ang="0">
                  <a:pos x="604" y="355"/>
                </a:cxn>
                <a:cxn ang="0">
                  <a:pos x="586" y="307"/>
                </a:cxn>
              </a:cxnLst>
              <a:rect l="0" t="0" r="r" b="b"/>
              <a:pathLst>
                <a:path w="769" h="486">
                  <a:moveTo>
                    <a:pt x="586" y="307"/>
                  </a:moveTo>
                  <a:cubicBezTo>
                    <a:pt x="585" y="307"/>
                    <a:pt x="585" y="307"/>
                    <a:pt x="585" y="307"/>
                  </a:cubicBezTo>
                  <a:cubicBezTo>
                    <a:pt x="585" y="307"/>
                    <a:pt x="585" y="300"/>
                    <a:pt x="585" y="298"/>
                  </a:cubicBezTo>
                  <a:cubicBezTo>
                    <a:pt x="582" y="298"/>
                    <a:pt x="573" y="294"/>
                    <a:pt x="573" y="287"/>
                  </a:cubicBezTo>
                  <a:cubicBezTo>
                    <a:pt x="573" y="282"/>
                    <a:pt x="581" y="282"/>
                    <a:pt x="582" y="276"/>
                  </a:cubicBezTo>
                  <a:cubicBezTo>
                    <a:pt x="586" y="264"/>
                    <a:pt x="605" y="264"/>
                    <a:pt x="614" y="256"/>
                  </a:cubicBezTo>
                  <a:cubicBezTo>
                    <a:pt x="611" y="251"/>
                    <a:pt x="604" y="256"/>
                    <a:pt x="598" y="252"/>
                  </a:cubicBezTo>
                  <a:cubicBezTo>
                    <a:pt x="595" y="250"/>
                    <a:pt x="593" y="246"/>
                    <a:pt x="588" y="246"/>
                  </a:cubicBezTo>
                  <a:cubicBezTo>
                    <a:pt x="585" y="246"/>
                    <a:pt x="585" y="256"/>
                    <a:pt x="582" y="256"/>
                  </a:cubicBezTo>
                  <a:cubicBezTo>
                    <a:pt x="578" y="256"/>
                    <a:pt x="574" y="257"/>
                    <a:pt x="570" y="255"/>
                  </a:cubicBezTo>
                  <a:cubicBezTo>
                    <a:pt x="565" y="252"/>
                    <a:pt x="567" y="247"/>
                    <a:pt x="562" y="243"/>
                  </a:cubicBezTo>
                  <a:cubicBezTo>
                    <a:pt x="560" y="242"/>
                    <a:pt x="552" y="240"/>
                    <a:pt x="552" y="236"/>
                  </a:cubicBezTo>
                  <a:cubicBezTo>
                    <a:pt x="552" y="227"/>
                    <a:pt x="565" y="230"/>
                    <a:pt x="571" y="225"/>
                  </a:cubicBezTo>
                  <a:cubicBezTo>
                    <a:pt x="577" y="221"/>
                    <a:pt x="587" y="215"/>
                    <a:pt x="590" y="209"/>
                  </a:cubicBezTo>
                  <a:cubicBezTo>
                    <a:pt x="591" y="208"/>
                    <a:pt x="593" y="203"/>
                    <a:pt x="597" y="203"/>
                  </a:cubicBezTo>
                  <a:cubicBezTo>
                    <a:pt x="601" y="203"/>
                    <a:pt x="606" y="209"/>
                    <a:pt x="606" y="212"/>
                  </a:cubicBezTo>
                  <a:cubicBezTo>
                    <a:pt x="606" y="219"/>
                    <a:pt x="597" y="222"/>
                    <a:pt x="597" y="230"/>
                  </a:cubicBezTo>
                  <a:cubicBezTo>
                    <a:pt x="610" y="230"/>
                    <a:pt x="620" y="216"/>
                    <a:pt x="634" y="216"/>
                  </a:cubicBezTo>
                  <a:cubicBezTo>
                    <a:pt x="639" y="216"/>
                    <a:pt x="641" y="221"/>
                    <a:pt x="648" y="221"/>
                  </a:cubicBezTo>
                  <a:cubicBezTo>
                    <a:pt x="646" y="226"/>
                    <a:pt x="648" y="226"/>
                    <a:pt x="648" y="231"/>
                  </a:cubicBezTo>
                  <a:cubicBezTo>
                    <a:pt x="648" y="235"/>
                    <a:pt x="643" y="235"/>
                    <a:pt x="643" y="240"/>
                  </a:cubicBezTo>
                  <a:cubicBezTo>
                    <a:pt x="643" y="242"/>
                    <a:pt x="645" y="248"/>
                    <a:pt x="648" y="248"/>
                  </a:cubicBezTo>
                  <a:cubicBezTo>
                    <a:pt x="649" y="248"/>
                    <a:pt x="651" y="245"/>
                    <a:pt x="654" y="245"/>
                  </a:cubicBezTo>
                  <a:cubicBezTo>
                    <a:pt x="659" y="245"/>
                    <a:pt x="666" y="249"/>
                    <a:pt x="666" y="254"/>
                  </a:cubicBezTo>
                  <a:cubicBezTo>
                    <a:pt x="666" y="257"/>
                    <a:pt x="662" y="260"/>
                    <a:pt x="659" y="260"/>
                  </a:cubicBezTo>
                  <a:cubicBezTo>
                    <a:pt x="659" y="264"/>
                    <a:pt x="659" y="264"/>
                    <a:pt x="659" y="264"/>
                  </a:cubicBezTo>
                  <a:cubicBezTo>
                    <a:pt x="660" y="265"/>
                    <a:pt x="660" y="267"/>
                    <a:pt x="663" y="268"/>
                  </a:cubicBezTo>
                  <a:cubicBezTo>
                    <a:pt x="663" y="270"/>
                    <a:pt x="665" y="272"/>
                    <a:pt x="665" y="275"/>
                  </a:cubicBezTo>
                  <a:cubicBezTo>
                    <a:pt x="665" y="276"/>
                    <a:pt x="661" y="282"/>
                    <a:pt x="661" y="285"/>
                  </a:cubicBezTo>
                  <a:cubicBezTo>
                    <a:pt x="661" y="287"/>
                    <a:pt x="661" y="289"/>
                    <a:pt x="664" y="290"/>
                  </a:cubicBezTo>
                  <a:cubicBezTo>
                    <a:pt x="663" y="292"/>
                    <a:pt x="661" y="293"/>
                    <a:pt x="661" y="295"/>
                  </a:cubicBezTo>
                  <a:cubicBezTo>
                    <a:pt x="668" y="295"/>
                    <a:pt x="668" y="295"/>
                    <a:pt x="668" y="295"/>
                  </a:cubicBezTo>
                  <a:cubicBezTo>
                    <a:pt x="670" y="293"/>
                    <a:pt x="671" y="293"/>
                    <a:pt x="676" y="291"/>
                  </a:cubicBezTo>
                  <a:cubicBezTo>
                    <a:pt x="676" y="287"/>
                    <a:pt x="687" y="287"/>
                    <a:pt x="690" y="286"/>
                  </a:cubicBezTo>
                  <a:cubicBezTo>
                    <a:pt x="696" y="284"/>
                    <a:pt x="699" y="279"/>
                    <a:pt x="699" y="269"/>
                  </a:cubicBezTo>
                  <a:cubicBezTo>
                    <a:pt x="699" y="252"/>
                    <a:pt x="692" y="242"/>
                    <a:pt x="683" y="232"/>
                  </a:cubicBezTo>
                  <a:cubicBezTo>
                    <a:pt x="679" y="228"/>
                    <a:pt x="674" y="224"/>
                    <a:pt x="675" y="217"/>
                  </a:cubicBezTo>
                  <a:cubicBezTo>
                    <a:pt x="680" y="217"/>
                    <a:pt x="685" y="214"/>
                    <a:pt x="688" y="210"/>
                  </a:cubicBezTo>
                  <a:cubicBezTo>
                    <a:pt x="691" y="207"/>
                    <a:pt x="699" y="203"/>
                    <a:pt x="701" y="199"/>
                  </a:cubicBezTo>
                  <a:cubicBezTo>
                    <a:pt x="707" y="187"/>
                    <a:pt x="710" y="180"/>
                    <a:pt x="721" y="172"/>
                  </a:cubicBezTo>
                  <a:cubicBezTo>
                    <a:pt x="721" y="172"/>
                    <a:pt x="738" y="153"/>
                    <a:pt x="723" y="143"/>
                  </a:cubicBezTo>
                  <a:cubicBezTo>
                    <a:pt x="717" y="139"/>
                    <a:pt x="735" y="138"/>
                    <a:pt x="745" y="132"/>
                  </a:cubicBezTo>
                  <a:cubicBezTo>
                    <a:pt x="756" y="126"/>
                    <a:pt x="760" y="102"/>
                    <a:pt x="769" y="92"/>
                  </a:cubicBezTo>
                  <a:cubicBezTo>
                    <a:pt x="769" y="81"/>
                    <a:pt x="769" y="81"/>
                    <a:pt x="769" y="81"/>
                  </a:cubicBezTo>
                  <a:cubicBezTo>
                    <a:pt x="751" y="81"/>
                    <a:pt x="749" y="95"/>
                    <a:pt x="734" y="95"/>
                  </a:cubicBezTo>
                  <a:cubicBezTo>
                    <a:pt x="721" y="95"/>
                    <a:pt x="716" y="78"/>
                    <a:pt x="710" y="73"/>
                  </a:cubicBezTo>
                  <a:cubicBezTo>
                    <a:pt x="702" y="65"/>
                    <a:pt x="683" y="64"/>
                    <a:pt x="677" y="55"/>
                  </a:cubicBezTo>
                  <a:cubicBezTo>
                    <a:pt x="662" y="31"/>
                    <a:pt x="663" y="0"/>
                    <a:pt x="624" y="0"/>
                  </a:cubicBezTo>
                  <a:cubicBezTo>
                    <a:pt x="568" y="0"/>
                    <a:pt x="589" y="74"/>
                    <a:pt x="547" y="57"/>
                  </a:cubicBezTo>
                  <a:cubicBezTo>
                    <a:pt x="515" y="45"/>
                    <a:pt x="483" y="68"/>
                    <a:pt x="458" y="68"/>
                  </a:cubicBezTo>
                  <a:cubicBezTo>
                    <a:pt x="430" y="68"/>
                    <a:pt x="422" y="46"/>
                    <a:pt x="395" y="46"/>
                  </a:cubicBezTo>
                  <a:cubicBezTo>
                    <a:pt x="383" y="46"/>
                    <a:pt x="365" y="61"/>
                    <a:pt x="355" y="33"/>
                  </a:cubicBezTo>
                  <a:cubicBezTo>
                    <a:pt x="352" y="26"/>
                    <a:pt x="325" y="22"/>
                    <a:pt x="317" y="22"/>
                  </a:cubicBezTo>
                  <a:cubicBezTo>
                    <a:pt x="304" y="22"/>
                    <a:pt x="309" y="55"/>
                    <a:pt x="284" y="55"/>
                  </a:cubicBezTo>
                  <a:cubicBezTo>
                    <a:pt x="266" y="55"/>
                    <a:pt x="247" y="42"/>
                    <a:pt x="236" y="42"/>
                  </a:cubicBezTo>
                  <a:cubicBezTo>
                    <a:pt x="229" y="42"/>
                    <a:pt x="221" y="51"/>
                    <a:pt x="218" y="53"/>
                  </a:cubicBezTo>
                  <a:cubicBezTo>
                    <a:pt x="196" y="66"/>
                    <a:pt x="170" y="66"/>
                    <a:pt x="152" y="81"/>
                  </a:cubicBezTo>
                  <a:cubicBezTo>
                    <a:pt x="145" y="88"/>
                    <a:pt x="159" y="112"/>
                    <a:pt x="123" y="108"/>
                  </a:cubicBezTo>
                  <a:cubicBezTo>
                    <a:pt x="110" y="106"/>
                    <a:pt x="108" y="133"/>
                    <a:pt x="86" y="137"/>
                  </a:cubicBezTo>
                  <a:cubicBezTo>
                    <a:pt x="86" y="186"/>
                    <a:pt x="58" y="207"/>
                    <a:pt x="17" y="207"/>
                  </a:cubicBezTo>
                  <a:cubicBezTo>
                    <a:pt x="10" y="207"/>
                    <a:pt x="1" y="227"/>
                    <a:pt x="0" y="236"/>
                  </a:cubicBezTo>
                  <a:cubicBezTo>
                    <a:pt x="11" y="238"/>
                    <a:pt x="13" y="241"/>
                    <a:pt x="15" y="251"/>
                  </a:cubicBezTo>
                  <a:cubicBezTo>
                    <a:pt x="15" y="253"/>
                    <a:pt x="15" y="253"/>
                    <a:pt x="15" y="253"/>
                  </a:cubicBezTo>
                  <a:cubicBezTo>
                    <a:pt x="15" y="261"/>
                    <a:pt x="19" y="259"/>
                    <a:pt x="25" y="261"/>
                  </a:cubicBezTo>
                  <a:cubicBezTo>
                    <a:pt x="30" y="262"/>
                    <a:pt x="28" y="268"/>
                    <a:pt x="31" y="271"/>
                  </a:cubicBezTo>
                  <a:cubicBezTo>
                    <a:pt x="37" y="277"/>
                    <a:pt x="42" y="277"/>
                    <a:pt x="50" y="280"/>
                  </a:cubicBezTo>
                  <a:cubicBezTo>
                    <a:pt x="58" y="279"/>
                    <a:pt x="61" y="272"/>
                    <a:pt x="69" y="272"/>
                  </a:cubicBezTo>
                  <a:cubicBezTo>
                    <a:pt x="73" y="272"/>
                    <a:pt x="83" y="280"/>
                    <a:pt x="83" y="284"/>
                  </a:cubicBezTo>
                  <a:cubicBezTo>
                    <a:pt x="83" y="296"/>
                    <a:pt x="66" y="294"/>
                    <a:pt x="66" y="306"/>
                  </a:cubicBezTo>
                  <a:cubicBezTo>
                    <a:pt x="66" y="311"/>
                    <a:pt x="73" y="312"/>
                    <a:pt x="73" y="317"/>
                  </a:cubicBezTo>
                  <a:cubicBezTo>
                    <a:pt x="73" y="323"/>
                    <a:pt x="68" y="322"/>
                    <a:pt x="63" y="322"/>
                  </a:cubicBezTo>
                  <a:cubicBezTo>
                    <a:pt x="63" y="326"/>
                    <a:pt x="63" y="326"/>
                    <a:pt x="63" y="326"/>
                  </a:cubicBezTo>
                  <a:cubicBezTo>
                    <a:pt x="64" y="331"/>
                    <a:pt x="64" y="335"/>
                    <a:pt x="65" y="340"/>
                  </a:cubicBezTo>
                  <a:cubicBezTo>
                    <a:pt x="66" y="343"/>
                    <a:pt x="71" y="342"/>
                    <a:pt x="73" y="343"/>
                  </a:cubicBezTo>
                  <a:cubicBezTo>
                    <a:pt x="80" y="345"/>
                    <a:pt x="83" y="351"/>
                    <a:pt x="91" y="353"/>
                  </a:cubicBezTo>
                  <a:cubicBezTo>
                    <a:pt x="100" y="355"/>
                    <a:pt x="105" y="352"/>
                    <a:pt x="110" y="357"/>
                  </a:cubicBezTo>
                  <a:cubicBezTo>
                    <a:pt x="116" y="363"/>
                    <a:pt x="120" y="361"/>
                    <a:pt x="127" y="364"/>
                  </a:cubicBezTo>
                  <a:cubicBezTo>
                    <a:pt x="130" y="366"/>
                    <a:pt x="130" y="369"/>
                    <a:pt x="132" y="373"/>
                  </a:cubicBezTo>
                  <a:cubicBezTo>
                    <a:pt x="133" y="376"/>
                    <a:pt x="137" y="372"/>
                    <a:pt x="139" y="373"/>
                  </a:cubicBezTo>
                  <a:cubicBezTo>
                    <a:pt x="146" y="378"/>
                    <a:pt x="150" y="384"/>
                    <a:pt x="160" y="384"/>
                  </a:cubicBezTo>
                  <a:cubicBezTo>
                    <a:pt x="166" y="384"/>
                    <a:pt x="172" y="384"/>
                    <a:pt x="178" y="384"/>
                  </a:cubicBezTo>
                  <a:cubicBezTo>
                    <a:pt x="182" y="384"/>
                    <a:pt x="184" y="382"/>
                    <a:pt x="186" y="382"/>
                  </a:cubicBezTo>
                  <a:cubicBezTo>
                    <a:pt x="189" y="382"/>
                    <a:pt x="190" y="389"/>
                    <a:pt x="191" y="392"/>
                  </a:cubicBezTo>
                  <a:cubicBezTo>
                    <a:pt x="197" y="389"/>
                    <a:pt x="199" y="381"/>
                    <a:pt x="210" y="381"/>
                  </a:cubicBezTo>
                  <a:cubicBezTo>
                    <a:pt x="219" y="381"/>
                    <a:pt x="224" y="386"/>
                    <a:pt x="231" y="386"/>
                  </a:cubicBezTo>
                  <a:cubicBezTo>
                    <a:pt x="238" y="386"/>
                    <a:pt x="252" y="374"/>
                    <a:pt x="255" y="372"/>
                  </a:cubicBezTo>
                  <a:cubicBezTo>
                    <a:pt x="258" y="370"/>
                    <a:pt x="259" y="369"/>
                    <a:pt x="260" y="367"/>
                  </a:cubicBezTo>
                  <a:cubicBezTo>
                    <a:pt x="264" y="363"/>
                    <a:pt x="270" y="368"/>
                    <a:pt x="275" y="366"/>
                  </a:cubicBezTo>
                  <a:cubicBezTo>
                    <a:pt x="279" y="362"/>
                    <a:pt x="279" y="362"/>
                    <a:pt x="279" y="362"/>
                  </a:cubicBezTo>
                  <a:cubicBezTo>
                    <a:pt x="282" y="362"/>
                    <a:pt x="282" y="362"/>
                    <a:pt x="282" y="362"/>
                  </a:cubicBezTo>
                  <a:cubicBezTo>
                    <a:pt x="285" y="377"/>
                    <a:pt x="294" y="376"/>
                    <a:pt x="305" y="381"/>
                  </a:cubicBezTo>
                  <a:cubicBezTo>
                    <a:pt x="309" y="388"/>
                    <a:pt x="316" y="391"/>
                    <a:pt x="316" y="400"/>
                  </a:cubicBezTo>
                  <a:cubicBezTo>
                    <a:pt x="316" y="417"/>
                    <a:pt x="304" y="418"/>
                    <a:pt x="304" y="434"/>
                  </a:cubicBezTo>
                  <a:cubicBezTo>
                    <a:pt x="304" y="436"/>
                    <a:pt x="305" y="439"/>
                    <a:pt x="306" y="439"/>
                  </a:cubicBezTo>
                  <a:cubicBezTo>
                    <a:pt x="309" y="439"/>
                    <a:pt x="312" y="436"/>
                    <a:pt x="315" y="436"/>
                  </a:cubicBezTo>
                  <a:cubicBezTo>
                    <a:pt x="319" y="436"/>
                    <a:pt x="320" y="449"/>
                    <a:pt x="324" y="450"/>
                  </a:cubicBezTo>
                  <a:cubicBezTo>
                    <a:pt x="324" y="459"/>
                    <a:pt x="330" y="468"/>
                    <a:pt x="338" y="468"/>
                  </a:cubicBezTo>
                  <a:cubicBezTo>
                    <a:pt x="342" y="468"/>
                    <a:pt x="343" y="467"/>
                    <a:pt x="346" y="467"/>
                  </a:cubicBezTo>
                  <a:cubicBezTo>
                    <a:pt x="348" y="467"/>
                    <a:pt x="348" y="467"/>
                    <a:pt x="348" y="467"/>
                  </a:cubicBezTo>
                  <a:cubicBezTo>
                    <a:pt x="348" y="471"/>
                    <a:pt x="350" y="472"/>
                    <a:pt x="351" y="472"/>
                  </a:cubicBezTo>
                  <a:cubicBezTo>
                    <a:pt x="352" y="472"/>
                    <a:pt x="353" y="470"/>
                    <a:pt x="353" y="468"/>
                  </a:cubicBezTo>
                  <a:cubicBezTo>
                    <a:pt x="353" y="464"/>
                    <a:pt x="353" y="461"/>
                    <a:pt x="353" y="457"/>
                  </a:cubicBezTo>
                  <a:cubicBezTo>
                    <a:pt x="353" y="457"/>
                    <a:pt x="363" y="454"/>
                    <a:pt x="365" y="454"/>
                  </a:cubicBezTo>
                  <a:cubicBezTo>
                    <a:pt x="379" y="454"/>
                    <a:pt x="379" y="454"/>
                    <a:pt x="379" y="454"/>
                  </a:cubicBezTo>
                  <a:cubicBezTo>
                    <a:pt x="385" y="457"/>
                    <a:pt x="390" y="448"/>
                    <a:pt x="397" y="448"/>
                  </a:cubicBezTo>
                  <a:cubicBezTo>
                    <a:pt x="404" y="448"/>
                    <a:pt x="408" y="453"/>
                    <a:pt x="416" y="453"/>
                  </a:cubicBezTo>
                  <a:cubicBezTo>
                    <a:pt x="416" y="464"/>
                    <a:pt x="424" y="468"/>
                    <a:pt x="431" y="470"/>
                  </a:cubicBezTo>
                  <a:cubicBezTo>
                    <a:pt x="431" y="470"/>
                    <a:pt x="431" y="470"/>
                    <a:pt x="431" y="470"/>
                  </a:cubicBezTo>
                  <a:cubicBezTo>
                    <a:pt x="439" y="474"/>
                    <a:pt x="444" y="471"/>
                    <a:pt x="452" y="475"/>
                  </a:cubicBezTo>
                  <a:cubicBezTo>
                    <a:pt x="452" y="477"/>
                    <a:pt x="451" y="486"/>
                    <a:pt x="454" y="486"/>
                  </a:cubicBezTo>
                  <a:cubicBezTo>
                    <a:pt x="459" y="486"/>
                    <a:pt x="457" y="480"/>
                    <a:pt x="460" y="477"/>
                  </a:cubicBezTo>
                  <a:cubicBezTo>
                    <a:pt x="463" y="474"/>
                    <a:pt x="472" y="472"/>
                    <a:pt x="476" y="470"/>
                  </a:cubicBezTo>
                  <a:cubicBezTo>
                    <a:pt x="484" y="466"/>
                    <a:pt x="492" y="468"/>
                    <a:pt x="498" y="463"/>
                  </a:cubicBezTo>
                  <a:cubicBezTo>
                    <a:pt x="498" y="463"/>
                    <a:pt x="502" y="455"/>
                    <a:pt x="503" y="455"/>
                  </a:cubicBezTo>
                  <a:cubicBezTo>
                    <a:pt x="507" y="455"/>
                    <a:pt x="510" y="458"/>
                    <a:pt x="514" y="458"/>
                  </a:cubicBezTo>
                  <a:cubicBezTo>
                    <a:pt x="534" y="458"/>
                    <a:pt x="539" y="446"/>
                    <a:pt x="552" y="439"/>
                  </a:cubicBezTo>
                  <a:cubicBezTo>
                    <a:pt x="555" y="437"/>
                    <a:pt x="557" y="435"/>
                    <a:pt x="558" y="431"/>
                  </a:cubicBezTo>
                  <a:cubicBezTo>
                    <a:pt x="569" y="431"/>
                    <a:pt x="572" y="414"/>
                    <a:pt x="576" y="406"/>
                  </a:cubicBezTo>
                  <a:cubicBezTo>
                    <a:pt x="578" y="401"/>
                    <a:pt x="590" y="383"/>
                    <a:pt x="597" y="382"/>
                  </a:cubicBezTo>
                  <a:cubicBezTo>
                    <a:pt x="597" y="372"/>
                    <a:pt x="604" y="368"/>
                    <a:pt x="604" y="355"/>
                  </a:cubicBezTo>
                  <a:cubicBezTo>
                    <a:pt x="604" y="336"/>
                    <a:pt x="599" y="329"/>
                    <a:pt x="591" y="317"/>
                  </a:cubicBezTo>
                  <a:cubicBezTo>
                    <a:pt x="590" y="315"/>
                    <a:pt x="590" y="309"/>
                    <a:pt x="586" y="307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0" name="Freeform 148"/>
            <p:cNvSpPr>
              <a:spLocks/>
            </p:cNvSpPr>
            <p:nvPr/>
          </p:nvSpPr>
          <p:spPr bwMode="auto">
            <a:xfrm>
              <a:off x="7369175" y="1395413"/>
              <a:ext cx="58738" cy="25400"/>
            </a:xfrm>
            <a:custGeom>
              <a:avLst/>
              <a:gdLst/>
              <a:ahLst/>
              <a:cxnLst>
                <a:cxn ang="0">
                  <a:pos x="4" y="19"/>
                </a:cxn>
                <a:cxn ang="0">
                  <a:pos x="0" y="14"/>
                </a:cxn>
                <a:cxn ang="0">
                  <a:pos x="20" y="0"/>
                </a:cxn>
                <a:cxn ang="0">
                  <a:pos x="44" y="11"/>
                </a:cxn>
                <a:cxn ang="0">
                  <a:pos x="4" y="19"/>
                </a:cxn>
              </a:cxnLst>
              <a:rect l="0" t="0" r="r" b="b"/>
              <a:pathLst>
                <a:path w="44" h="19">
                  <a:moveTo>
                    <a:pt x="4" y="19"/>
                  </a:moveTo>
                  <a:cubicBezTo>
                    <a:pt x="1" y="19"/>
                    <a:pt x="0" y="17"/>
                    <a:pt x="0" y="14"/>
                  </a:cubicBezTo>
                  <a:cubicBezTo>
                    <a:pt x="0" y="8"/>
                    <a:pt x="13" y="0"/>
                    <a:pt x="20" y="0"/>
                  </a:cubicBezTo>
                  <a:cubicBezTo>
                    <a:pt x="27" y="0"/>
                    <a:pt x="44" y="4"/>
                    <a:pt x="44" y="11"/>
                  </a:cubicBezTo>
                  <a:cubicBezTo>
                    <a:pt x="44" y="17"/>
                    <a:pt x="9" y="19"/>
                    <a:pt x="4" y="19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1" name="Freeform 149"/>
            <p:cNvSpPr>
              <a:spLocks/>
            </p:cNvSpPr>
            <p:nvPr/>
          </p:nvSpPr>
          <p:spPr bwMode="auto">
            <a:xfrm>
              <a:off x="7191375" y="1443038"/>
              <a:ext cx="23813" cy="14288"/>
            </a:xfrm>
            <a:custGeom>
              <a:avLst/>
              <a:gdLst/>
              <a:ahLst/>
              <a:cxnLst>
                <a:cxn ang="0">
                  <a:pos x="13" y="10"/>
                </a:cxn>
                <a:cxn ang="0">
                  <a:pos x="18" y="6"/>
                </a:cxn>
                <a:cxn ang="0">
                  <a:pos x="15" y="0"/>
                </a:cxn>
                <a:cxn ang="0">
                  <a:pos x="0" y="0"/>
                </a:cxn>
                <a:cxn ang="0">
                  <a:pos x="13" y="10"/>
                </a:cxn>
              </a:cxnLst>
              <a:rect l="0" t="0" r="r" b="b"/>
              <a:pathLst>
                <a:path w="18" h="10">
                  <a:moveTo>
                    <a:pt x="13" y="10"/>
                  </a:moveTo>
                  <a:cubicBezTo>
                    <a:pt x="15" y="10"/>
                    <a:pt x="18" y="8"/>
                    <a:pt x="18" y="6"/>
                  </a:cubicBezTo>
                  <a:cubicBezTo>
                    <a:pt x="18" y="3"/>
                    <a:pt x="15" y="2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6"/>
                    <a:pt x="7" y="10"/>
                    <a:pt x="13" y="1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2" name="Freeform 150"/>
            <p:cNvSpPr>
              <a:spLocks/>
            </p:cNvSpPr>
            <p:nvPr/>
          </p:nvSpPr>
          <p:spPr bwMode="auto">
            <a:xfrm>
              <a:off x="6645275" y="1257300"/>
              <a:ext cx="11113" cy="12700"/>
            </a:xfrm>
            <a:custGeom>
              <a:avLst/>
              <a:gdLst/>
              <a:ahLst/>
              <a:cxnLst>
                <a:cxn ang="0">
                  <a:pos x="8" y="5"/>
                </a:cxn>
                <a:cxn ang="0">
                  <a:pos x="3" y="0"/>
                </a:cxn>
                <a:cxn ang="0">
                  <a:pos x="0" y="7"/>
                </a:cxn>
                <a:cxn ang="0">
                  <a:pos x="3" y="10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8" y="5"/>
                </a:cxn>
              </a:cxnLst>
              <a:rect l="0" t="0" r="r" b="b"/>
              <a:pathLst>
                <a:path w="8" h="10">
                  <a:moveTo>
                    <a:pt x="8" y="5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2"/>
                    <a:pt x="0" y="4"/>
                    <a:pt x="0" y="7"/>
                  </a:cubicBezTo>
                  <a:cubicBezTo>
                    <a:pt x="0" y="9"/>
                    <a:pt x="1" y="10"/>
                    <a:pt x="3" y="10"/>
                  </a:cubicBezTo>
                  <a:cubicBezTo>
                    <a:pt x="7" y="10"/>
                    <a:pt x="7" y="6"/>
                    <a:pt x="8" y="4"/>
                  </a:cubicBezTo>
                  <a:cubicBezTo>
                    <a:pt x="6" y="4"/>
                    <a:pt x="6" y="4"/>
                    <a:pt x="6" y="4"/>
                  </a:cubicBezTo>
                  <a:lnTo>
                    <a:pt x="8" y="5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3" name="Freeform 151"/>
            <p:cNvSpPr>
              <a:spLocks/>
            </p:cNvSpPr>
            <p:nvPr/>
          </p:nvSpPr>
          <p:spPr bwMode="auto">
            <a:xfrm>
              <a:off x="6249988" y="1300163"/>
              <a:ext cx="26988" cy="15875"/>
            </a:xfrm>
            <a:custGeom>
              <a:avLst/>
              <a:gdLst/>
              <a:ahLst/>
              <a:cxnLst>
                <a:cxn ang="0">
                  <a:pos x="20" y="9"/>
                </a:cxn>
                <a:cxn ang="0">
                  <a:pos x="10" y="12"/>
                </a:cxn>
                <a:cxn ang="0">
                  <a:pos x="0" y="7"/>
                </a:cxn>
                <a:cxn ang="0">
                  <a:pos x="10" y="0"/>
                </a:cxn>
                <a:cxn ang="0">
                  <a:pos x="20" y="7"/>
                </a:cxn>
                <a:cxn ang="0">
                  <a:pos x="17" y="12"/>
                </a:cxn>
                <a:cxn ang="0">
                  <a:pos x="20" y="9"/>
                </a:cxn>
              </a:cxnLst>
              <a:rect l="0" t="0" r="r" b="b"/>
              <a:pathLst>
                <a:path w="20" h="12">
                  <a:moveTo>
                    <a:pt x="20" y="9"/>
                  </a:moveTo>
                  <a:cubicBezTo>
                    <a:pt x="17" y="11"/>
                    <a:pt x="14" y="12"/>
                    <a:pt x="10" y="12"/>
                  </a:cubicBezTo>
                  <a:cubicBezTo>
                    <a:pt x="5" y="12"/>
                    <a:pt x="0" y="11"/>
                    <a:pt x="0" y="7"/>
                  </a:cubicBezTo>
                  <a:cubicBezTo>
                    <a:pt x="0" y="3"/>
                    <a:pt x="6" y="0"/>
                    <a:pt x="10" y="0"/>
                  </a:cubicBezTo>
                  <a:cubicBezTo>
                    <a:pt x="16" y="0"/>
                    <a:pt x="20" y="2"/>
                    <a:pt x="20" y="7"/>
                  </a:cubicBezTo>
                  <a:cubicBezTo>
                    <a:pt x="20" y="10"/>
                    <a:pt x="18" y="11"/>
                    <a:pt x="17" y="12"/>
                  </a:cubicBezTo>
                  <a:lnTo>
                    <a:pt x="20" y="9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4" name="Freeform 152"/>
            <p:cNvSpPr>
              <a:spLocks/>
            </p:cNvSpPr>
            <p:nvPr/>
          </p:nvSpPr>
          <p:spPr bwMode="auto">
            <a:xfrm>
              <a:off x="6043613" y="1128713"/>
              <a:ext cx="100013" cy="57150"/>
            </a:xfrm>
            <a:custGeom>
              <a:avLst/>
              <a:gdLst/>
              <a:ahLst/>
              <a:cxnLst>
                <a:cxn ang="0">
                  <a:pos x="6" y="43"/>
                </a:cxn>
                <a:cxn ang="0">
                  <a:pos x="0" y="37"/>
                </a:cxn>
                <a:cxn ang="0">
                  <a:pos x="8" y="27"/>
                </a:cxn>
                <a:cxn ang="0">
                  <a:pos x="39" y="0"/>
                </a:cxn>
                <a:cxn ang="0">
                  <a:pos x="45" y="0"/>
                </a:cxn>
                <a:cxn ang="0">
                  <a:pos x="44" y="10"/>
                </a:cxn>
                <a:cxn ang="0">
                  <a:pos x="52" y="6"/>
                </a:cxn>
                <a:cxn ang="0">
                  <a:pos x="76" y="23"/>
                </a:cxn>
                <a:cxn ang="0">
                  <a:pos x="45" y="34"/>
                </a:cxn>
                <a:cxn ang="0">
                  <a:pos x="30" y="37"/>
                </a:cxn>
                <a:cxn ang="0">
                  <a:pos x="6" y="43"/>
                </a:cxn>
              </a:cxnLst>
              <a:rect l="0" t="0" r="r" b="b"/>
              <a:pathLst>
                <a:path w="76" h="43">
                  <a:moveTo>
                    <a:pt x="6" y="43"/>
                  </a:moveTo>
                  <a:cubicBezTo>
                    <a:pt x="1" y="43"/>
                    <a:pt x="0" y="41"/>
                    <a:pt x="0" y="37"/>
                  </a:cubicBezTo>
                  <a:cubicBezTo>
                    <a:pt x="0" y="30"/>
                    <a:pt x="5" y="30"/>
                    <a:pt x="8" y="27"/>
                  </a:cubicBezTo>
                  <a:cubicBezTo>
                    <a:pt x="18" y="17"/>
                    <a:pt x="22" y="0"/>
                    <a:pt x="39" y="0"/>
                  </a:cubicBezTo>
                  <a:cubicBezTo>
                    <a:pt x="43" y="0"/>
                    <a:pt x="43" y="0"/>
                    <a:pt x="45" y="0"/>
                  </a:cubicBezTo>
                  <a:cubicBezTo>
                    <a:pt x="45" y="7"/>
                    <a:pt x="47" y="7"/>
                    <a:pt x="44" y="10"/>
                  </a:cubicBezTo>
                  <a:cubicBezTo>
                    <a:pt x="47" y="9"/>
                    <a:pt x="49" y="6"/>
                    <a:pt x="52" y="6"/>
                  </a:cubicBezTo>
                  <a:cubicBezTo>
                    <a:pt x="58" y="6"/>
                    <a:pt x="76" y="17"/>
                    <a:pt x="76" y="23"/>
                  </a:cubicBezTo>
                  <a:cubicBezTo>
                    <a:pt x="76" y="34"/>
                    <a:pt x="53" y="36"/>
                    <a:pt x="45" y="34"/>
                  </a:cubicBezTo>
                  <a:cubicBezTo>
                    <a:pt x="43" y="34"/>
                    <a:pt x="30" y="37"/>
                    <a:pt x="30" y="37"/>
                  </a:cubicBezTo>
                  <a:lnTo>
                    <a:pt x="6" y="43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5" name="Freeform 153"/>
            <p:cNvSpPr>
              <a:spLocks/>
            </p:cNvSpPr>
            <p:nvPr/>
          </p:nvSpPr>
          <p:spPr bwMode="auto">
            <a:xfrm>
              <a:off x="5900738" y="1101725"/>
              <a:ext cx="39688" cy="20638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30" y="7"/>
                </a:cxn>
                <a:cxn ang="0">
                  <a:pos x="9" y="16"/>
                </a:cxn>
                <a:cxn ang="0">
                  <a:pos x="0" y="5"/>
                </a:cxn>
                <a:cxn ang="0">
                  <a:pos x="12" y="0"/>
                </a:cxn>
              </a:cxnLst>
              <a:rect l="0" t="0" r="r" b="b"/>
              <a:pathLst>
                <a:path w="30" h="16">
                  <a:moveTo>
                    <a:pt x="12" y="0"/>
                  </a:moveTo>
                  <a:cubicBezTo>
                    <a:pt x="14" y="0"/>
                    <a:pt x="26" y="6"/>
                    <a:pt x="30" y="7"/>
                  </a:cubicBezTo>
                  <a:cubicBezTo>
                    <a:pt x="29" y="15"/>
                    <a:pt x="14" y="16"/>
                    <a:pt x="9" y="16"/>
                  </a:cubicBezTo>
                  <a:cubicBezTo>
                    <a:pt x="6" y="16"/>
                    <a:pt x="0" y="9"/>
                    <a:pt x="0" y="5"/>
                  </a:cubicBezTo>
                  <a:cubicBezTo>
                    <a:pt x="0" y="0"/>
                    <a:pt x="9" y="0"/>
                    <a:pt x="12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6" name="Freeform 154"/>
            <p:cNvSpPr>
              <a:spLocks/>
            </p:cNvSpPr>
            <p:nvPr/>
          </p:nvSpPr>
          <p:spPr bwMode="auto">
            <a:xfrm>
              <a:off x="5913438" y="1057275"/>
              <a:ext cx="139700" cy="98425"/>
            </a:xfrm>
            <a:custGeom>
              <a:avLst/>
              <a:gdLst/>
              <a:ahLst/>
              <a:cxnLst>
                <a:cxn ang="0">
                  <a:pos x="99" y="68"/>
                </a:cxn>
                <a:cxn ang="0">
                  <a:pos x="90" y="74"/>
                </a:cxn>
                <a:cxn ang="0">
                  <a:pos x="41" y="66"/>
                </a:cxn>
                <a:cxn ang="0">
                  <a:pos x="17" y="50"/>
                </a:cxn>
                <a:cxn ang="0">
                  <a:pos x="50" y="36"/>
                </a:cxn>
                <a:cxn ang="0">
                  <a:pos x="32" y="36"/>
                </a:cxn>
                <a:cxn ang="0">
                  <a:pos x="0" y="26"/>
                </a:cxn>
                <a:cxn ang="0">
                  <a:pos x="46" y="0"/>
                </a:cxn>
                <a:cxn ang="0">
                  <a:pos x="72" y="17"/>
                </a:cxn>
                <a:cxn ang="0">
                  <a:pos x="67" y="18"/>
                </a:cxn>
                <a:cxn ang="0">
                  <a:pos x="67" y="27"/>
                </a:cxn>
                <a:cxn ang="0">
                  <a:pos x="59" y="35"/>
                </a:cxn>
                <a:cxn ang="0">
                  <a:pos x="68" y="35"/>
                </a:cxn>
                <a:cxn ang="0">
                  <a:pos x="81" y="39"/>
                </a:cxn>
                <a:cxn ang="0">
                  <a:pos x="90" y="39"/>
                </a:cxn>
                <a:cxn ang="0">
                  <a:pos x="105" y="48"/>
                </a:cxn>
                <a:cxn ang="0">
                  <a:pos x="101" y="57"/>
                </a:cxn>
                <a:cxn ang="0">
                  <a:pos x="92" y="62"/>
                </a:cxn>
                <a:cxn ang="0">
                  <a:pos x="99" y="68"/>
                </a:cxn>
              </a:cxnLst>
              <a:rect l="0" t="0" r="r" b="b"/>
              <a:pathLst>
                <a:path w="105" h="74">
                  <a:moveTo>
                    <a:pt x="99" y="68"/>
                  </a:moveTo>
                  <a:cubicBezTo>
                    <a:pt x="99" y="72"/>
                    <a:pt x="94" y="74"/>
                    <a:pt x="90" y="74"/>
                  </a:cubicBezTo>
                  <a:cubicBezTo>
                    <a:pt x="71" y="74"/>
                    <a:pt x="57" y="66"/>
                    <a:pt x="41" y="66"/>
                  </a:cubicBezTo>
                  <a:cubicBezTo>
                    <a:pt x="35" y="66"/>
                    <a:pt x="24" y="54"/>
                    <a:pt x="17" y="50"/>
                  </a:cubicBezTo>
                  <a:cubicBezTo>
                    <a:pt x="32" y="46"/>
                    <a:pt x="36" y="41"/>
                    <a:pt x="50" y="36"/>
                  </a:cubicBezTo>
                  <a:cubicBezTo>
                    <a:pt x="46" y="36"/>
                    <a:pt x="35" y="36"/>
                    <a:pt x="32" y="36"/>
                  </a:cubicBezTo>
                  <a:cubicBezTo>
                    <a:pt x="20" y="36"/>
                    <a:pt x="11" y="32"/>
                    <a:pt x="0" y="26"/>
                  </a:cubicBezTo>
                  <a:cubicBezTo>
                    <a:pt x="18" y="21"/>
                    <a:pt x="25" y="0"/>
                    <a:pt x="46" y="0"/>
                  </a:cubicBezTo>
                  <a:cubicBezTo>
                    <a:pt x="58" y="0"/>
                    <a:pt x="65" y="12"/>
                    <a:pt x="72" y="17"/>
                  </a:cubicBezTo>
                  <a:cubicBezTo>
                    <a:pt x="68" y="19"/>
                    <a:pt x="69" y="18"/>
                    <a:pt x="67" y="18"/>
                  </a:cubicBezTo>
                  <a:cubicBezTo>
                    <a:pt x="68" y="23"/>
                    <a:pt x="67" y="24"/>
                    <a:pt x="67" y="27"/>
                  </a:cubicBezTo>
                  <a:cubicBezTo>
                    <a:pt x="67" y="29"/>
                    <a:pt x="62" y="33"/>
                    <a:pt x="59" y="35"/>
                  </a:cubicBezTo>
                  <a:cubicBezTo>
                    <a:pt x="63" y="33"/>
                    <a:pt x="65" y="35"/>
                    <a:pt x="68" y="35"/>
                  </a:cubicBezTo>
                  <a:cubicBezTo>
                    <a:pt x="73" y="35"/>
                    <a:pt x="76" y="39"/>
                    <a:pt x="81" y="39"/>
                  </a:cubicBezTo>
                  <a:cubicBezTo>
                    <a:pt x="84" y="39"/>
                    <a:pt x="87" y="39"/>
                    <a:pt x="90" y="39"/>
                  </a:cubicBezTo>
                  <a:cubicBezTo>
                    <a:pt x="99" y="39"/>
                    <a:pt x="99" y="42"/>
                    <a:pt x="105" y="48"/>
                  </a:cubicBezTo>
                  <a:cubicBezTo>
                    <a:pt x="100" y="51"/>
                    <a:pt x="101" y="52"/>
                    <a:pt x="101" y="57"/>
                  </a:cubicBezTo>
                  <a:cubicBezTo>
                    <a:pt x="101" y="61"/>
                    <a:pt x="95" y="62"/>
                    <a:pt x="92" y="62"/>
                  </a:cubicBezTo>
                  <a:cubicBezTo>
                    <a:pt x="95" y="63"/>
                    <a:pt x="99" y="65"/>
                    <a:pt x="99" y="68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7" name="Freeform 155"/>
            <p:cNvSpPr>
              <a:spLocks/>
            </p:cNvSpPr>
            <p:nvPr/>
          </p:nvSpPr>
          <p:spPr bwMode="auto">
            <a:xfrm>
              <a:off x="5973763" y="1212850"/>
              <a:ext cx="17463" cy="1270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7" y="0"/>
                </a:cxn>
                <a:cxn ang="0">
                  <a:pos x="13" y="0"/>
                </a:cxn>
                <a:cxn ang="0">
                  <a:pos x="5" y="9"/>
                </a:cxn>
                <a:cxn ang="0">
                  <a:pos x="0" y="5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cubicBezTo>
                    <a:pt x="3" y="3"/>
                    <a:pt x="5" y="1"/>
                    <a:pt x="7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6"/>
                    <a:pt x="10" y="9"/>
                    <a:pt x="5" y="9"/>
                  </a:cubicBezTo>
                  <a:cubicBezTo>
                    <a:pt x="2" y="9"/>
                    <a:pt x="1" y="7"/>
                    <a:pt x="0" y="5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8" name="Freeform 156"/>
            <p:cNvSpPr>
              <a:spLocks/>
            </p:cNvSpPr>
            <p:nvPr/>
          </p:nvSpPr>
          <p:spPr bwMode="auto">
            <a:xfrm>
              <a:off x="5886450" y="1060450"/>
              <a:ext cx="23813" cy="7938"/>
            </a:xfrm>
            <a:custGeom>
              <a:avLst/>
              <a:gdLst/>
              <a:ahLst/>
              <a:cxnLst>
                <a:cxn ang="0">
                  <a:pos x="18" y="4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8" y="4"/>
                </a:cxn>
              </a:cxnLst>
              <a:rect l="0" t="0" r="r" b="b"/>
              <a:pathLst>
                <a:path w="18" h="6">
                  <a:moveTo>
                    <a:pt x="18" y="4"/>
                  </a:moveTo>
                  <a:cubicBezTo>
                    <a:pt x="11" y="5"/>
                    <a:pt x="3" y="6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8" y="4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9" name="Freeform 157"/>
            <p:cNvSpPr>
              <a:spLocks/>
            </p:cNvSpPr>
            <p:nvPr/>
          </p:nvSpPr>
          <p:spPr bwMode="auto">
            <a:xfrm>
              <a:off x="6162675" y="1173163"/>
              <a:ext cx="20638" cy="9525"/>
            </a:xfrm>
            <a:custGeom>
              <a:avLst/>
              <a:gdLst/>
              <a:ahLst/>
              <a:cxnLst>
                <a:cxn ang="0">
                  <a:pos x="15" y="1"/>
                </a:cxn>
                <a:cxn ang="0">
                  <a:pos x="9" y="7"/>
                </a:cxn>
                <a:cxn ang="0">
                  <a:pos x="0" y="2"/>
                </a:cxn>
                <a:cxn ang="0">
                  <a:pos x="15" y="1"/>
                </a:cxn>
              </a:cxnLst>
              <a:rect l="0" t="0" r="r" b="b"/>
              <a:pathLst>
                <a:path w="15" h="7">
                  <a:moveTo>
                    <a:pt x="15" y="1"/>
                  </a:moveTo>
                  <a:cubicBezTo>
                    <a:pt x="14" y="4"/>
                    <a:pt x="12" y="7"/>
                    <a:pt x="9" y="7"/>
                  </a:cubicBezTo>
                  <a:cubicBezTo>
                    <a:pt x="4" y="7"/>
                    <a:pt x="1" y="4"/>
                    <a:pt x="0" y="2"/>
                  </a:cubicBezTo>
                  <a:cubicBezTo>
                    <a:pt x="9" y="0"/>
                    <a:pt x="11" y="2"/>
                    <a:pt x="15" y="1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0" name="Freeform 158"/>
            <p:cNvSpPr>
              <a:spLocks/>
            </p:cNvSpPr>
            <p:nvPr/>
          </p:nvSpPr>
          <p:spPr bwMode="auto">
            <a:xfrm>
              <a:off x="5119688" y="1074738"/>
              <a:ext cx="117475" cy="36513"/>
            </a:xfrm>
            <a:custGeom>
              <a:avLst/>
              <a:gdLst/>
              <a:ahLst/>
              <a:cxnLst>
                <a:cxn ang="0">
                  <a:pos x="76" y="14"/>
                </a:cxn>
                <a:cxn ang="0">
                  <a:pos x="58" y="17"/>
                </a:cxn>
                <a:cxn ang="0">
                  <a:pos x="49" y="27"/>
                </a:cxn>
                <a:cxn ang="0">
                  <a:pos x="44" y="23"/>
                </a:cxn>
                <a:cxn ang="0">
                  <a:pos x="44" y="23"/>
                </a:cxn>
                <a:cxn ang="0">
                  <a:pos x="32" y="17"/>
                </a:cxn>
                <a:cxn ang="0">
                  <a:pos x="41" y="14"/>
                </a:cxn>
                <a:cxn ang="0">
                  <a:pos x="33" y="13"/>
                </a:cxn>
                <a:cxn ang="0">
                  <a:pos x="40" y="9"/>
                </a:cxn>
                <a:cxn ang="0">
                  <a:pos x="30" y="5"/>
                </a:cxn>
                <a:cxn ang="0">
                  <a:pos x="10" y="11"/>
                </a:cxn>
                <a:cxn ang="0">
                  <a:pos x="0" y="9"/>
                </a:cxn>
                <a:cxn ang="0">
                  <a:pos x="34" y="0"/>
                </a:cxn>
                <a:cxn ang="0">
                  <a:pos x="60" y="6"/>
                </a:cxn>
                <a:cxn ang="0">
                  <a:pos x="76" y="0"/>
                </a:cxn>
                <a:cxn ang="0">
                  <a:pos x="89" y="5"/>
                </a:cxn>
                <a:cxn ang="0">
                  <a:pos x="78" y="13"/>
                </a:cxn>
                <a:cxn ang="0">
                  <a:pos x="73" y="13"/>
                </a:cxn>
                <a:cxn ang="0">
                  <a:pos x="73" y="17"/>
                </a:cxn>
                <a:cxn ang="0">
                  <a:pos x="76" y="14"/>
                </a:cxn>
              </a:cxnLst>
              <a:rect l="0" t="0" r="r" b="b"/>
              <a:pathLst>
                <a:path w="89" h="27">
                  <a:moveTo>
                    <a:pt x="76" y="14"/>
                  </a:moveTo>
                  <a:cubicBezTo>
                    <a:pt x="69" y="19"/>
                    <a:pt x="65" y="13"/>
                    <a:pt x="58" y="17"/>
                  </a:cubicBezTo>
                  <a:cubicBezTo>
                    <a:pt x="54" y="19"/>
                    <a:pt x="53" y="27"/>
                    <a:pt x="49" y="27"/>
                  </a:cubicBezTo>
                  <a:cubicBezTo>
                    <a:pt x="47" y="26"/>
                    <a:pt x="45" y="24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38" y="23"/>
                    <a:pt x="33" y="21"/>
                    <a:pt x="32" y="17"/>
                  </a:cubicBezTo>
                  <a:cubicBezTo>
                    <a:pt x="36" y="15"/>
                    <a:pt x="38" y="15"/>
                    <a:pt x="41" y="14"/>
                  </a:cubicBezTo>
                  <a:cubicBezTo>
                    <a:pt x="37" y="14"/>
                    <a:pt x="35" y="13"/>
                    <a:pt x="33" y="13"/>
                  </a:cubicBezTo>
                  <a:cubicBezTo>
                    <a:pt x="36" y="11"/>
                    <a:pt x="38" y="11"/>
                    <a:pt x="40" y="9"/>
                  </a:cubicBezTo>
                  <a:cubicBezTo>
                    <a:pt x="36" y="8"/>
                    <a:pt x="34" y="5"/>
                    <a:pt x="30" y="5"/>
                  </a:cubicBezTo>
                  <a:cubicBezTo>
                    <a:pt x="25" y="5"/>
                    <a:pt x="17" y="11"/>
                    <a:pt x="10" y="11"/>
                  </a:cubicBezTo>
                  <a:cubicBezTo>
                    <a:pt x="7" y="11"/>
                    <a:pt x="4" y="9"/>
                    <a:pt x="0" y="9"/>
                  </a:cubicBezTo>
                  <a:cubicBezTo>
                    <a:pt x="4" y="2"/>
                    <a:pt x="25" y="0"/>
                    <a:pt x="34" y="0"/>
                  </a:cubicBezTo>
                  <a:cubicBezTo>
                    <a:pt x="45" y="0"/>
                    <a:pt x="52" y="6"/>
                    <a:pt x="60" y="6"/>
                  </a:cubicBezTo>
                  <a:cubicBezTo>
                    <a:pt x="67" y="6"/>
                    <a:pt x="70" y="0"/>
                    <a:pt x="76" y="0"/>
                  </a:cubicBezTo>
                  <a:cubicBezTo>
                    <a:pt x="82" y="0"/>
                    <a:pt x="87" y="4"/>
                    <a:pt x="89" y="5"/>
                  </a:cubicBezTo>
                  <a:cubicBezTo>
                    <a:pt x="89" y="13"/>
                    <a:pt x="83" y="9"/>
                    <a:pt x="78" y="13"/>
                  </a:cubicBezTo>
                  <a:cubicBezTo>
                    <a:pt x="76" y="13"/>
                    <a:pt x="75" y="13"/>
                    <a:pt x="73" y="13"/>
                  </a:cubicBezTo>
                  <a:cubicBezTo>
                    <a:pt x="73" y="17"/>
                    <a:pt x="73" y="17"/>
                    <a:pt x="73" y="17"/>
                  </a:cubicBezTo>
                  <a:lnTo>
                    <a:pt x="76" y="14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1" name="Freeform 159"/>
            <p:cNvSpPr>
              <a:spLocks/>
            </p:cNvSpPr>
            <p:nvPr/>
          </p:nvSpPr>
          <p:spPr bwMode="auto">
            <a:xfrm>
              <a:off x="5427663" y="1052513"/>
              <a:ext cx="41275" cy="26988"/>
            </a:xfrm>
            <a:custGeom>
              <a:avLst/>
              <a:gdLst/>
              <a:ahLst/>
              <a:cxnLst>
                <a:cxn ang="0">
                  <a:pos x="7" y="20"/>
                </a:cxn>
                <a:cxn ang="0">
                  <a:pos x="0" y="13"/>
                </a:cxn>
                <a:cxn ang="0">
                  <a:pos x="25" y="0"/>
                </a:cxn>
                <a:cxn ang="0">
                  <a:pos x="31" y="14"/>
                </a:cxn>
                <a:cxn ang="0">
                  <a:pos x="7" y="20"/>
                </a:cxn>
              </a:cxnLst>
              <a:rect l="0" t="0" r="r" b="b"/>
              <a:pathLst>
                <a:path w="31" h="20">
                  <a:moveTo>
                    <a:pt x="7" y="20"/>
                  </a:move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18" y="0"/>
                    <a:pt x="25" y="0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28" y="16"/>
                    <a:pt x="11" y="20"/>
                    <a:pt x="7" y="2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2" name="Freeform 160"/>
            <p:cNvSpPr>
              <a:spLocks/>
            </p:cNvSpPr>
            <p:nvPr/>
          </p:nvSpPr>
          <p:spPr bwMode="auto">
            <a:xfrm>
              <a:off x="5373688" y="1069975"/>
              <a:ext cx="44450" cy="25400"/>
            </a:xfrm>
            <a:custGeom>
              <a:avLst/>
              <a:gdLst/>
              <a:ahLst/>
              <a:cxnLst>
                <a:cxn ang="0">
                  <a:pos x="33" y="4"/>
                </a:cxn>
                <a:cxn ang="0">
                  <a:pos x="33" y="10"/>
                </a:cxn>
                <a:cxn ang="0">
                  <a:pos x="22" y="12"/>
                </a:cxn>
                <a:cxn ang="0">
                  <a:pos x="24" y="18"/>
                </a:cxn>
                <a:cxn ang="0">
                  <a:pos x="0" y="18"/>
                </a:cxn>
                <a:cxn ang="0">
                  <a:pos x="9" y="6"/>
                </a:cxn>
                <a:cxn ang="0">
                  <a:pos x="9" y="0"/>
                </a:cxn>
                <a:cxn ang="0">
                  <a:pos x="23" y="0"/>
                </a:cxn>
                <a:cxn ang="0">
                  <a:pos x="19" y="4"/>
                </a:cxn>
                <a:cxn ang="0">
                  <a:pos x="33" y="4"/>
                </a:cxn>
              </a:cxnLst>
              <a:rect l="0" t="0" r="r" b="b"/>
              <a:pathLst>
                <a:path w="33" h="20">
                  <a:moveTo>
                    <a:pt x="33" y="4"/>
                  </a:moveTo>
                  <a:cubicBezTo>
                    <a:pt x="33" y="8"/>
                    <a:pt x="33" y="8"/>
                    <a:pt x="33" y="10"/>
                  </a:cubicBezTo>
                  <a:cubicBezTo>
                    <a:pt x="30" y="14"/>
                    <a:pt x="26" y="12"/>
                    <a:pt x="22" y="12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2" y="19"/>
                    <a:pt x="0" y="20"/>
                    <a:pt x="0" y="18"/>
                  </a:cubicBezTo>
                  <a:cubicBezTo>
                    <a:pt x="0" y="11"/>
                    <a:pt x="3" y="8"/>
                    <a:pt x="9" y="6"/>
                  </a:cubicBezTo>
                  <a:cubicBezTo>
                    <a:pt x="8" y="2"/>
                    <a:pt x="9" y="1"/>
                    <a:pt x="9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2"/>
                    <a:pt x="20" y="4"/>
                    <a:pt x="19" y="4"/>
                  </a:cubicBezTo>
                  <a:cubicBezTo>
                    <a:pt x="22" y="4"/>
                    <a:pt x="29" y="4"/>
                    <a:pt x="33" y="4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3" name="Freeform 161"/>
            <p:cNvSpPr>
              <a:spLocks/>
            </p:cNvSpPr>
            <p:nvPr/>
          </p:nvSpPr>
          <p:spPr bwMode="auto">
            <a:xfrm>
              <a:off x="5314950" y="1092200"/>
              <a:ext cx="44450" cy="15875"/>
            </a:xfrm>
            <a:custGeom>
              <a:avLst/>
              <a:gdLst/>
              <a:ahLst/>
              <a:cxnLst>
                <a:cxn ang="0">
                  <a:pos x="20" y="12"/>
                </a:cxn>
                <a:cxn ang="0">
                  <a:pos x="11" y="7"/>
                </a:cxn>
                <a:cxn ang="0">
                  <a:pos x="4" y="12"/>
                </a:cxn>
                <a:cxn ang="0">
                  <a:pos x="0" y="9"/>
                </a:cxn>
                <a:cxn ang="0">
                  <a:pos x="22" y="0"/>
                </a:cxn>
                <a:cxn ang="0">
                  <a:pos x="34" y="5"/>
                </a:cxn>
                <a:cxn ang="0">
                  <a:pos x="20" y="12"/>
                </a:cxn>
              </a:cxnLst>
              <a:rect l="0" t="0" r="r" b="b"/>
              <a:pathLst>
                <a:path w="34" h="12">
                  <a:moveTo>
                    <a:pt x="20" y="12"/>
                  </a:moveTo>
                  <a:cubicBezTo>
                    <a:pt x="17" y="12"/>
                    <a:pt x="14" y="7"/>
                    <a:pt x="11" y="7"/>
                  </a:cubicBezTo>
                  <a:cubicBezTo>
                    <a:pt x="10" y="12"/>
                    <a:pt x="8" y="12"/>
                    <a:pt x="4" y="12"/>
                  </a:cubicBezTo>
                  <a:cubicBezTo>
                    <a:pt x="2" y="12"/>
                    <a:pt x="0" y="10"/>
                    <a:pt x="0" y="9"/>
                  </a:cubicBezTo>
                  <a:cubicBezTo>
                    <a:pt x="0" y="2"/>
                    <a:pt x="17" y="0"/>
                    <a:pt x="22" y="0"/>
                  </a:cubicBezTo>
                  <a:cubicBezTo>
                    <a:pt x="28" y="0"/>
                    <a:pt x="32" y="2"/>
                    <a:pt x="34" y="5"/>
                  </a:cubicBezTo>
                  <a:cubicBezTo>
                    <a:pt x="25" y="5"/>
                    <a:pt x="26" y="12"/>
                    <a:pt x="20" y="12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4" name="Freeform 162"/>
            <p:cNvSpPr>
              <a:spLocks/>
            </p:cNvSpPr>
            <p:nvPr/>
          </p:nvSpPr>
          <p:spPr bwMode="auto">
            <a:xfrm>
              <a:off x="5287963" y="1038225"/>
              <a:ext cx="71438" cy="49213"/>
            </a:xfrm>
            <a:custGeom>
              <a:avLst/>
              <a:gdLst/>
              <a:ahLst/>
              <a:cxnLst>
                <a:cxn ang="0">
                  <a:pos x="40" y="31"/>
                </a:cxn>
                <a:cxn ang="0">
                  <a:pos x="22" y="36"/>
                </a:cxn>
                <a:cxn ang="0">
                  <a:pos x="0" y="28"/>
                </a:cxn>
                <a:cxn ang="0">
                  <a:pos x="6" y="23"/>
                </a:cxn>
                <a:cxn ang="0">
                  <a:pos x="24" y="23"/>
                </a:cxn>
                <a:cxn ang="0">
                  <a:pos x="17" y="22"/>
                </a:cxn>
                <a:cxn ang="0">
                  <a:pos x="17" y="16"/>
                </a:cxn>
                <a:cxn ang="0">
                  <a:pos x="43" y="8"/>
                </a:cxn>
                <a:cxn ang="0">
                  <a:pos x="51" y="0"/>
                </a:cxn>
                <a:cxn ang="0">
                  <a:pos x="52" y="5"/>
                </a:cxn>
                <a:cxn ang="0">
                  <a:pos x="48" y="11"/>
                </a:cxn>
                <a:cxn ang="0">
                  <a:pos x="28" y="23"/>
                </a:cxn>
                <a:cxn ang="0">
                  <a:pos x="53" y="29"/>
                </a:cxn>
                <a:cxn ang="0">
                  <a:pos x="40" y="31"/>
                </a:cxn>
              </a:cxnLst>
              <a:rect l="0" t="0" r="r" b="b"/>
              <a:pathLst>
                <a:path w="53" h="36">
                  <a:moveTo>
                    <a:pt x="40" y="31"/>
                  </a:moveTo>
                  <a:cubicBezTo>
                    <a:pt x="34" y="31"/>
                    <a:pt x="27" y="36"/>
                    <a:pt x="22" y="36"/>
                  </a:cubicBezTo>
                  <a:cubicBezTo>
                    <a:pt x="19" y="36"/>
                    <a:pt x="1" y="28"/>
                    <a:pt x="0" y="28"/>
                  </a:cubicBezTo>
                  <a:cubicBezTo>
                    <a:pt x="3" y="26"/>
                    <a:pt x="4" y="25"/>
                    <a:pt x="6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19" y="21"/>
                    <a:pt x="21" y="20"/>
                    <a:pt x="17" y="22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30" y="16"/>
                    <a:pt x="30" y="8"/>
                    <a:pt x="43" y="8"/>
                  </a:cubicBezTo>
                  <a:cubicBezTo>
                    <a:pt x="44" y="4"/>
                    <a:pt x="47" y="0"/>
                    <a:pt x="51" y="0"/>
                  </a:cubicBezTo>
                  <a:cubicBezTo>
                    <a:pt x="52" y="0"/>
                    <a:pt x="52" y="4"/>
                    <a:pt x="52" y="5"/>
                  </a:cubicBezTo>
                  <a:cubicBezTo>
                    <a:pt x="50" y="7"/>
                    <a:pt x="48" y="9"/>
                    <a:pt x="48" y="11"/>
                  </a:cubicBezTo>
                  <a:cubicBezTo>
                    <a:pt x="41" y="16"/>
                    <a:pt x="32" y="18"/>
                    <a:pt x="28" y="23"/>
                  </a:cubicBezTo>
                  <a:cubicBezTo>
                    <a:pt x="40" y="24"/>
                    <a:pt x="43" y="25"/>
                    <a:pt x="53" y="29"/>
                  </a:cubicBezTo>
                  <a:cubicBezTo>
                    <a:pt x="49" y="32"/>
                    <a:pt x="45" y="31"/>
                    <a:pt x="40" y="31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5" name="Freeform 164"/>
            <p:cNvSpPr>
              <a:spLocks/>
            </p:cNvSpPr>
            <p:nvPr/>
          </p:nvSpPr>
          <p:spPr bwMode="auto">
            <a:xfrm>
              <a:off x="6675438" y="1244600"/>
              <a:ext cx="128588" cy="49213"/>
            </a:xfrm>
            <a:custGeom>
              <a:avLst/>
              <a:gdLst/>
              <a:ahLst/>
              <a:cxnLst>
                <a:cxn ang="0">
                  <a:pos x="77" y="29"/>
                </a:cxn>
                <a:cxn ang="0">
                  <a:pos x="66" y="34"/>
                </a:cxn>
                <a:cxn ang="0">
                  <a:pos x="58" y="29"/>
                </a:cxn>
                <a:cxn ang="0">
                  <a:pos x="50" y="32"/>
                </a:cxn>
                <a:cxn ang="0">
                  <a:pos x="40" y="36"/>
                </a:cxn>
                <a:cxn ang="0">
                  <a:pos x="32" y="31"/>
                </a:cxn>
                <a:cxn ang="0">
                  <a:pos x="22" y="38"/>
                </a:cxn>
                <a:cxn ang="0">
                  <a:pos x="0" y="18"/>
                </a:cxn>
                <a:cxn ang="0">
                  <a:pos x="20" y="0"/>
                </a:cxn>
                <a:cxn ang="0">
                  <a:pos x="47" y="15"/>
                </a:cxn>
                <a:cxn ang="0">
                  <a:pos x="54" y="3"/>
                </a:cxn>
                <a:cxn ang="0">
                  <a:pos x="97" y="15"/>
                </a:cxn>
                <a:cxn ang="0">
                  <a:pos x="89" y="29"/>
                </a:cxn>
                <a:cxn ang="0">
                  <a:pos x="77" y="29"/>
                </a:cxn>
              </a:cxnLst>
              <a:rect l="0" t="0" r="r" b="b"/>
              <a:pathLst>
                <a:path w="97" h="38">
                  <a:moveTo>
                    <a:pt x="77" y="29"/>
                  </a:moveTo>
                  <a:cubicBezTo>
                    <a:pt x="74" y="29"/>
                    <a:pt x="72" y="34"/>
                    <a:pt x="66" y="34"/>
                  </a:cubicBezTo>
                  <a:cubicBezTo>
                    <a:pt x="63" y="34"/>
                    <a:pt x="62" y="29"/>
                    <a:pt x="58" y="29"/>
                  </a:cubicBezTo>
                  <a:cubicBezTo>
                    <a:pt x="55" y="29"/>
                    <a:pt x="53" y="32"/>
                    <a:pt x="50" y="32"/>
                  </a:cubicBezTo>
                  <a:cubicBezTo>
                    <a:pt x="47" y="32"/>
                    <a:pt x="44" y="36"/>
                    <a:pt x="40" y="36"/>
                  </a:cubicBezTo>
                  <a:cubicBezTo>
                    <a:pt x="36" y="36"/>
                    <a:pt x="34" y="34"/>
                    <a:pt x="32" y="31"/>
                  </a:cubicBezTo>
                  <a:cubicBezTo>
                    <a:pt x="29" y="34"/>
                    <a:pt x="27" y="38"/>
                    <a:pt x="22" y="38"/>
                  </a:cubicBezTo>
                  <a:cubicBezTo>
                    <a:pt x="11" y="38"/>
                    <a:pt x="0" y="29"/>
                    <a:pt x="0" y="18"/>
                  </a:cubicBezTo>
                  <a:cubicBezTo>
                    <a:pt x="0" y="8"/>
                    <a:pt x="11" y="0"/>
                    <a:pt x="20" y="0"/>
                  </a:cubicBezTo>
                  <a:cubicBezTo>
                    <a:pt x="34" y="0"/>
                    <a:pt x="35" y="15"/>
                    <a:pt x="47" y="15"/>
                  </a:cubicBezTo>
                  <a:cubicBezTo>
                    <a:pt x="47" y="8"/>
                    <a:pt x="49" y="3"/>
                    <a:pt x="54" y="3"/>
                  </a:cubicBezTo>
                  <a:cubicBezTo>
                    <a:pt x="62" y="3"/>
                    <a:pt x="88" y="12"/>
                    <a:pt x="97" y="15"/>
                  </a:cubicBezTo>
                  <a:cubicBezTo>
                    <a:pt x="95" y="21"/>
                    <a:pt x="89" y="26"/>
                    <a:pt x="89" y="29"/>
                  </a:cubicBezTo>
                  <a:lnTo>
                    <a:pt x="77" y="29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6" name="Freeform 165"/>
            <p:cNvSpPr>
              <a:spLocks/>
            </p:cNvSpPr>
            <p:nvPr/>
          </p:nvSpPr>
          <p:spPr bwMode="auto">
            <a:xfrm>
              <a:off x="4924425" y="2252663"/>
              <a:ext cx="34925" cy="17463"/>
            </a:xfrm>
            <a:custGeom>
              <a:avLst/>
              <a:gdLst/>
              <a:ahLst/>
              <a:cxnLst>
                <a:cxn ang="0">
                  <a:pos x="5" y="13"/>
                </a:cxn>
                <a:cxn ang="0">
                  <a:pos x="2" y="11"/>
                </a:cxn>
                <a:cxn ang="0">
                  <a:pos x="0" y="9"/>
                </a:cxn>
                <a:cxn ang="0">
                  <a:pos x="26" y="0"/>
                </a:cxn>
                <a:cxn ang="0">
                  <a:pos x="20" y="4"/>
                </a:cxn>
                <a:cxn ang="0">
                  <a:pos x="19" y="8"/>
                </a:cxn>
                <a:cxn ang="0">
                  <a:pos x="5" y="13"/>
                </a:cxn>
              </a:cxnLst>
              <a:rect l="0" t="0" r="r" b="b"/>
              <a:pathLst>
                <a:path w="26" h="13">
                  <a:moveTo>
                    <a:pt x="5" y="13"/>
                  </a:moveTo>
                  <a:cubicBezTo>
                    <a:pt x="4" y="13"/>
                    <a:pt x="2" y="12"/>
                    <a:pt x="2" y="11"/>
                  </a:cubicBezTo>
                  <a:cubicBezTo>
                    <a:pt x="1" y="11"/>
                    <a:pt x="0" y="9"/>
                    <a:pt x="0" y="9"/>
                  </a:cubicBezTo>
                  <a:cubicBezTo>
                    <a:pt x="7" y="6"/>
                    <a:pt x="18" y="1"/>
                    <a:pt x="26" y="0"/>
                  </a:cubicBezTo>
                  <a:cubicBezTo>
                    <a:pt x="25" y="4"/>
                    <a:pt x="22" y="2"/>
                    <a:pt x="20" y="4"/>
                  </a:cubicBezTo>
                  <a:cubicBezTo>
                    <a:pt x="18" y="4"/>
                    <a:pt x="19" y="7"/>
                    <a:pt x="19" y="8"/>
                  </a:cubicBezTo>
                  <a:cubicBezTo>
                    <a:pt x="18" y="11"/>
                    <a:pt x="9" y="13"/>
                    <a:pt x="5" y="13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7" name="Freeform 166"/>
            <p:cNvSpPr>
              <a:spLocks/>
            </p:cNvSpPr>
            <p:nvPr/>
          </p:nvSpPr>
          <p:spPr bwMode="auto">
            <a:xfrm>
              <a:off x="5183188" y="1463675"/>
              <a:ext cx="34925" cy="25400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11" y="0"/>
                </a:cxn>
                <a:cxn ang="0">
                  <a:pos x="26" y="6"/>
                </a:cxn>
                <a:cxn ang="0">
                  <a:pos x="26" y="12"/>
                </a:cxn>
                <a:cxn ang="0">
                  <a:pos x="8" y="19"/>
                </a:cxn>
                <a:cxn ang="0">
                  <a:pos x="0" y="14"/>
                </a:cxn>
                <a:cxn ang="0">
                  <a:pos x="5" y="4"/>
                </a:cxn>
              </a:cxnLst>
              <a:rect l="0" t="0" r="r" b="b"/>
              <a:pathLst>
                <a:path w="26" h="19">
                  <a:moveTo>
                    <a:pt x="5" y="4"/>
                  </a:moveTo>
                  <a:cubicBezTo>
                    <a:pt x="8" y="4"/>
                    <a:pt x="8" y="0"/>
                    <a:pt x="11" y="0"/>
                  </a:cubicBezTo>
                  <a:cubicBezTo>
                    <a:pt x="17" y="0"/>
                    <a:pt x="20" y="5"/>
                    <a:pt x="26" y="6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0" y="15"/>
                    <a:pt x="15" y="19"/>
                    <a:pt x="8" y="19"/>
                  </a:cubicBezTo>
                  <a:cubicBezTo>
                    <a:pt x="2" y="19"/>
                    <a:pt x="0" y="19"/>
                    <a:pt x="0" y="14"/>
                  </a:cubicBezTo>
                  <a:cubicBezTo>
                    <a:pt x="0" y="12"/>
                    <a:pt x="4" y="4"/>
                    <a:pt x="5" y="4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8" name="Freeform 167"/>
            <p:cNvSpPr>
              <a:spLocks/>
            </p:cNvSpPr>
            <p:nvPr/>
          </p:nvSpPr>
          <p:spPr bwMode="auto">
            <a:xfrm>
              <a:off x="5359400" y="1433513"/>
              <a:ext cx="26988" cy="25400"/>
            </a:xfrm>
            <a:custGeom>
              <a:avLst/>
              <a:gdLst/>
              <a:ahLst/>
              <a:cxnLst>
                <a:cxn ang="0">
                  <a:pos x="21" y="17"/>
                </a:cxn>
                <a:cxn ang="0">
                  <a:pos x="15" y="19"/>
                </a:cxn>
                <a:cxn ang="0">
                  <a:pos x="0" y="8"/>
                </a:cxn>
                <a:cxn ang="0">
                  <a:pos x="21" y="17"/>
                </a:cxn>
              </a:cxnLst>
              <a:rect l="0" t="0" r="r" b="b"/>
              <a:pathLst>
                <a:path w="21" h="20">
                  <a:moveTo>
                    <a:pt x="21" y="17"/>
                  </a:moveTo>
                  <a:cubicBezTo>
                    <a:pt x="21" y="20"/>
                    <a:pt x="15" y="19"/>
                    <a:pt x="15" y="19"/>
                  </a:cubicBezTo>
                  <a:cubicBezTo>
                    <a:pt x="10" y="19"/>
                    <a:pt x="0" y="14"/>
                    <a:pt x="0" y="8"/>
                  </a:cubicBezTo>
                  <a:cubicBezTo>
                    <a:pt x="0" y="0"/>
                    <a:pt x="21" y="8"/>
                    <a:pt x="21" y="17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9" name="Freeform 168"/>
            <p:cNvSpPr>
              <a:spLocks/>
            </p:cNvSpPr>
            <p:nvPr/>
          </p:nvSpPr>
          <p:spPr bwMode="auto">
            <a:xfrm>
              <a:off x="5549900" y="1338263"/>
              <a:ext cx="25400" cy="17463"/>
            </a:xfrm>
            <a:custGeom>
              <a:avLst/>
              <a:gdLst/>
              <a:ahLst/>
              <a:cxnLst>
                <a:cxn ang="0">
                  <a:pos x="2" y="13"/>
                </a:cxn>
                <a:cxn ang="0">
                  <a:pos x="19" y="8"/>
                </a:cxn>
                <a:cxn ang="0">
                  <a:pos x="8" y="0"/>
                </a:cxn>
                <a:cxn ang="0">
                  <a:pos x="2" y="9"/>
                </a:cxn>
                <a:cxn ang="0">
                  <a:pos x="2" y="13"/>
                </a:cxn>
              </a:cxnLst>
              <a:rect l="0" t="0" r="r" b="b"/>
              <a:pathLst>
                <a:path w="19" h="13">
                  <a:moveTo>
                    <a:pt x="2" y="13"/>
                  </a:moveTo>
                  <a:cubicBezTo>
                    <a:pt x="7" y="13"/>
                    <a:pt x="17" y="10"/>
                    <a:pt x="19" y="8"/>
                  </a:cubicBezTo>
                  <a:cubicBezTo>
                    <a:pt x="15" y="5"/>
                    <a:pt x="13" y="0"/>
                    <a:pt x="8" y="0"/>
                  </a:cubicBezTo>
                  <a:cubicBezTo>
                    <a:pt x="4" y="0"/>
                    <a:pt x="2" y="5"/>
                    <a:pt x="2" y="9"/>
                  </a:cubicBezTo>
                  <a:cubicBezTo>
                    <a:pt x="2" y="10"/>
                    <a:pt x="0" y="13"/>
                    <a:pt x="2" y="13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0" name="Freeform 169"/>
            <p:cNvSpPr>
              <a:spLocks/>
            </p:cNvSpPr>
            <p:nvPr/>
          </p:nvSpPr>
          <p:spPr bwMode="auto">
            <a:xfrm>
              <a:off x="6727825" y="1320800"/>
              <a:ext cx="53975" cy="22225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21" y="0"/>
                </a:cxn>
                <a:cxn ang="0">
                  <a:pos x="41" y="17"/>
                </a:cxn>
                <a:cxn ang="0">
                  <a:pos x="28" y="17"/>
                </a:cxn>
                <a:cxn ang="0">
                  <a:pos x="2" y="11"/>
                </a:cxn>
                <a:cxn ang="0">
                  <a:pos x="0" y="13"/>
                </a:cxn>
              </a:cxnLst>
              <a:rect l="0" t="0" r="r" b="b"/>
              <a:pathLst>
                <a:path w="41" h="17">
                  <a:moveTo>
                    <a:pt x="0" y="13"/>
                  </a:moveTo>
                  <a:cubicBezTo>
                    <a:pt x="5" y="6"/>
                    <a:pt x="11" y="0"/>
                    <a:pt x="21" y="0"/>
                  </a:cubicBezTo>
                  <a:cubicBezTo>
                    <a:pt x="32" y="0"/>
                    <a:pt x="41" y="7"/>
                    <a:pt x="41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0" y="13"/>
                    <a:pt x="10" y="14"/>
                    <a:pt x="2" y="11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1" name="Freeform 170"/>
            <p:cNvSpPr>
              <a:spLocks/>
            </p:cNvSpPr>
            <p:nvPr/>
          </p:nvSpPr>
          <p:spPr bwMode="auto">
            <a:xfrm>
              <a:off x="6832600" y="1266825"/>
              <a:ext cx="74613" cy="26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2" y="9"/>
                </a:cxn>
                <a:cxn ang="0">
                  <a:pos x="56" y="13"/>
                </a:cxn>
                <a:cxn ang="0">
                  <a:pos x="37" y="20"/>
                </a:cxn>
                <a:cxn ang="0">
                  <a:pos x="4" y="3"/>
                </a:cxn>
                <a:cxn ang="0">
                  <a:pos x="0" y="0"/>
                </a:cxn>
              </a:cxnLst>
              <a:rect l="0" t="0" r="r" b="b"/>
              <a:pathLst>
                <a:path w="56" h="20">
                  <a:moveTo>
                    <a:pt x="0" y="0"/>
                  </a:moveTo>
                  <a:cubicBezTo>
                    <a:pt x="4" y="3"/>
                    <a:pt x="50" y="9"/>
                    <a:pt x="52" y="9"/>
                  </a:cubicBezTo>
                  <a:cubicBezTo>
                    <a:pt x="55" y="9"/>
                    <a:pt x="56" y="11"/>
                    <a:pt x="56" y="13"/>
                  </a:cubicBezTo>
                  <a:cubicBezTo>
                    <a:pt x="56" y="18"/>
                    <a:pt x="44" y="20"/>
                    <a:pt x="37" y="20"/>
                  </a:cubicBezTo>
                  <a:cubicBezTo>
                    <a:pt x="25" y="20"/>
                    <a:pt x="4" y="14"/>
                    <a:pt x="4" y="3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2" name="Freeform 171"/>
            <p:cNvSpPr>
              <a:spLocks/>
            </p:cNvSpPr>
            <p:nvPr/>
          </p:nvSpPr>
          <p:spPr bwMode="auto">
            <a:xfrm>
              <a:off x="6726238" y="1303338"/>
              <a:ext cx="15875" cy="17463"/>
            </a:xfrm>
            <a:custGeom>
              <a:avLst/>
              <a:gdLst/>
              <a:ahLst/>
              <a:cxnLst>
                <a:cxn ang="0">
                  <a:pos x="12" y="7"/>
                </a:cxn>
                <a:cxn ang="0">
                  <a:pos x="5" y="13"/>
                </a:cxn>
                <a:cxn ang="0">
                  <a:pos x="0" y="7"/>
                </a:cxn>
                <a:cxn ang="0">
                  <a:pos x="12" y="7"/>
                </a:cxn>
              </a:cxnLst>
              <a:rect l="0" t="0" r="r" b="b"/>
              <a:pathLst>
                <a:path w="12" h="13">
                  <a:moveTo>
                    <a:pt x="12" y="7"/>
                  </a:moveTo>
                  <a:cubicBezTo>
                    <a:pt x="12" y="11"/>
                    <a:pt x="8" y="13"/>
                    <a:pt x="5" y="13"/>
                  </a:cubicBezTo>
                  <a:cubicBezTo>
                    <a:pt x="0" y="13"/>
                    <a:pt x="0" y="11"/>
                    <a:pt x="0" y="7"/>
                  </a:cubicBezTo>
                  <a:cubicBezTo>
                    <a:pt x="0" y="0"/>
                    <a:pt x="12" y="1"/>
                    <a:pt x="12" y="7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83" name="Group 203"/>
          <p:cNvGrpSpPr/>
          <p:nvPr/>
        </p:nvGrpSpPr>
        <p:grpSpPr>
          <a:xfrm>
            <a:off x="4815637" y="426096"/>
            <a:ext cx="564363" cy="564363"/>
            <a:chOff x="914400" y="2903541"/>
            <a:chExt cx="1319161" cy="1319161"/>
          </a:xfrm>
        </p:grpSpPr>
        <p:sp>
          <p:nvSpPr>
            <p:cNvPr id="1484" name="Teardrop 204"/>
            <p:cNvSpPr/>
            <p:nvPr/>
          </p:nvSpPr>
          <p:spPr>
            <a:xfrm rot="8100000">
              <a:off x="914400" y="2903541"/>
              <a:ext cx="1319161" cy="1319161"/>
            </a:xfrm>
            <a:prstGeom prst="teardrop">
              <a:avLst>
                <a:gd name="adj" fmla="val 133214"/>
              </a:avLst>
            </a:prstGeom>
            <a:solidFill>
              <a:srgbClr val="0095C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5" name="Oval 205"/>
            <p:cNvSpPr/>
            <p:nvPr/>
          </p:nvSpPr>
          <p:spPr>
            <a:xfrm>
              <a:off x="1056960" y="3046101"/>
              <a:ext cx="1034041" cy="1034041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>
                  <a:lumMod val="85000"/>
                </a:sys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none" strike="noStrike" kern="0" cap="none" spc="0" normalizeH="0" baseline="0" noProof="0" dirty="0">
                  <a:ln>
                    <a:noFill/>
                  </a:ln>
                  <a:solidFill>
                    <a:srgbClr val="27333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4%</a:t>
              </a:r>
            </a:p>
          </p:txBody>
        </p:sp>
      </p:grpSp>
      <p:grpSp>
        <p:nvGrpSpPr>
          <p:cNvPr id="1486" name="Group 206"/>
          <p:cNvGrpSpPr/>
          <p:nvPr/>
        </p:nvGrpSpPr>
        <p:grpSpPr>
          <a:xfrm>
            <a:off x="4800764" y="1812933"/>
            <a:ext cx="564363" cy="564363"/>
            <a:chOff x="914400" y="2903541"/>
            <a:chExt cx="1319161" cy="1319161"/>
          </a:xfrm>
        </p:grpSpPr>
        <p:sp>
          <p:nvSpPr>
            <p:cNvPr id="1487" name="Teardrop 207"/>
            <p:cNvSpPr/>
            <p:nvPr/>
          </p:nvSpPr>
          <p:spPr>
            <a:xfrm rot="8100000">
              <a:off x="914400" y="2903541"/>
              <a:ext cx="1319161" cy="1319161"/>
            </a:xfrm>
            <a:prstGeom prst="teardrop">
              <a:avLst>
                <a:gd name="adj" fmla="val 133214"/>
              </a:avLst>
            </a:prstGeom>
            <a:solidFill>
              <a:srgbClr val="7BB21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8" name="Oval 208"/>
            <p:cNvSpPr/>
            <p:nvPr/>
          </p:nvSpPr>
          <p:spPr>
            <a:xfrm>
              <a:off x="1056960" y="3046101"/>
              <a:ext cx="1034041" cy="1034041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>
                  <a:lumMod val="85000"/>
                </a:sys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none" strike="noStrike" kern="0" cap="none" spc="0" normalizeH="0" baseline="0" noProof="0" dirty="0">
                  <a:ln>
                    <a:noFill/>
                  </a:ln>
                  <a:solidFill>
                    <a:srgbClr val="27333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2%</a:t>
              </a:r>
            </a:p>
          </p:txBody>
        </p:sp>
      </p:grpSp>
      <p:grpSp>
        <p:nvGrpSpPr>
          <p:cNvPr id="1489" name="Group 209"/>
          <p:cNvGrpSpPr/>
          <p:nvPr/>
        </p:nvGrpSpPr>
        <p:grpSpPr>
          <a:xfrm>
            <a:off x="4410530" y="576547"/>
            <a:ext cx="564363" cy="564363"/>
            <a:chOff x="914400" y="2903541"/>
            <a:chExt cx="1319161" cy="1319161"/>
          </a:xfrm>
        </p:grpSpPr>
        <p:sp>
          <p:nvSpPr>
            <p:cNvPr id="1490" name="Teardrop 210"/>
            <p:cNvSpPr/>
            <p:nvPr/>
          </p:nvSpPr>
          <p:spPr>
            <a:xfrm rot="8100000">
              <a:off x="914400" y="2903541"/>
              <a:ext cx="1319161" cy="1319161"/>
            </a:xfrm>
            <a:prstGeom prst="teardrop">
              <a:avLst>
                <a:gd name="adj" fmla="val 133214"/>
              </a:avLst>
            </a:prstGeom>
            <a:solidFill>
              <a:srgbClr val="F17C3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1" name="Oval 213"/>
            <p:cNvSpPr/>
            <p:nvPr/>
          </p:nvSpPr>
          <p:spPr>
            <a:xfrm>
              <a:off x="1056960" y="3046101"/>
              <a:ext cx="1034041" cy="1034041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>
                  <a:lumMod val="85000"/>
                </a:sys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none" strike="noStrike" kern="0" cap="none" spc="0" normalizeH="0" baseline="0" noProof="0" dirty="0">
                  <a:ln>
                    <a:noFill/>
                  </a:ln>
                  <a:solidFill>
                    <a:srgbClr val="27333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9%</a:t>
              </a:r>
            </a:p>
          </p:txBody>
        </p:sp>
      </p:grpSp>
      <p:grpSp>
        <p:nvGrpSpPr>
          <p:cNvPr id="1492" name="Group 214"/>
          <p:cNvGrpSpPr/>
          <p:nvPr/>
        </p:nvGrpSpPr>
        <p:grpSpPr>
          <a:xfrm>
            <a:off x="5303289" y="816561"/>
            <a:ext cx="564363" cy="564363"/>
            <a:chOff x="-968225" y="2944876"/>
            <a:chExt cx="1319161" cy="1319161"/>
          </a:xfrm>
        </p:grpSpPr>
        <p:sp>
          <p:nvSpPr>
            <p:cNvPr id="1493" name="Teardrop 215"/>
            <p:cNvSpPr/>
            <p:nvPr/>
          </p:nvSpPr>
          <p:spPr>
            <a:xfrm rot="8100000">
              <a:off x="-968225" y="2944876"/>
              <a:ext cx="1319161" cy="1319161"/>
            </a:xfrm>
            <a:prstGeom prst="teardrop">
              <a:avLst>
                <a:gd name="adj" fmla="val 133214"/>
              </a:avLst>
            </a:prstGeom>
            <a:solidFill>
              <a:srgbClr val="814E7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4" name="Oval 216"/>
            <p:cNvSpPr/>
            <p:nvPr/>
          </p:nvSpPr>
          <p:spPr>
            <a:xfrm>
              <a:off x="-828517" y="3045664"/>
              <a:ext cx="1034041" cy="1034041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>
                  <a:lumMod val="85000"/>
                </a:sys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none" strike="noStrike" kern="0" cap="none" spc="0" normalizeH="0" baseline="0" noProof="0" dirty="0">
                  <a:ln>
                    <a:noFill/>
                  </a:ln>
                  <a:solidFill>
                    <a:srgbClr val="27333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5%</a:t>
              </a:r>
            </a:p>
          </p:txBody>
        </p:sp>
      </p:grpSp>
      <p:grpSp>
        <p:nvGrpSpPr>
          <p:cNvPr id="1495" name="Group 223"/>
          <p:cNvGrpSpPr/>
          <p:nvPr/>
        </p:nvGrpSpPr>
        <p:grpSpPr>
          <a:xfrm>
            <a:off x="6466278" y="387659"/>
            <a:ext cx="1237548" cy="1357709"/>
            <a:chOff x="482600" y="3803796"/>
            <a:chExt cx="1650064" cy="2022798"/>
          </a:xfrm>
          <a:noFill/>
        </p:grpSpPr>
        <p:sp>
          <p:nvSpPr>
            <p:cNvPr id="1496" name="Rectangle 1495"/>
            <p:cNvSpPr/>
            <p:nvPr/>
          </p:nvSpPr>
          <p:spPr>
            <a:xfrm>
              <a:off x="482600" y="3803796"/>
              <a:ext cx="1650064" cy="44352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7333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lgique</a:t>
              </a:r>
              <a:endPara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srgbClr val="2733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7" name="Rectangle 1496"/>
            <p:cNvSpPr/>
            <p:nvPr/>
          </p:nvSpPr>
          <p:spPr>
            <a:xfrm>
              <a:off x="482600" y="4856648"/>
              <a:ext cx="1650064" cy="44352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27333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frica</a:t>
              </a:r>
            </a:p>
          </p:txBody>
        </p:sp>
        <p:sp>
          <p:nvSpPr>
            <p:cNvPr id="1498" name="Rectangle 1497"/>
            <p:cNvSpPr/>
            <p:nvPr/>
          </p:nvSpPr>
          <p:spPr>
            <a:xfrm>
              <a:off x="482600" y="5383074"/>
              <a:ext cx="1650064" cy="44352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7333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oyen</a:t>
              </a:r>
              <a:r>
                <a: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27333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Orient</a:t>
              </a:r>
            </a:p>
          </p:txBody>
        </p:sp>
        <p:sp>
          <p:nvSpPr>
            <p:cNvPr id="1499" name="Rectangle 1498"/>
            <p:cNvSpPr/>
            <p:nvPr/>
          </p:nvSpPr>
          <p:spPr>
            <a:xfrm>
              <a:off x="482600" y="4330222"/>
              <a:ext cx="1649905" cy="44352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27333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urope</a:t>
              </a:r>
            </a:p>
          </p:txBody>
        </p:sp>
      </p:grpSp>
      <p:sp>
        <p:nvSpPr>
          <p:cNvPr id="1500" name="Teardrop 230"/>
          <p:cNvSpPr/>
          <p:nvPr/>
        </p:nvSpPr>
        <p:spPr>
          <a:xfrm rot="8100000">
            <a:off x="6100534" y="318300"/>
            <a:ext cx="303767" cy="303767"/>
          </a:xfrm>
          <a:prstGeom prst="teardrop">
            <a:avLst>
              <a:gd name="adj" fmla="val 133214"/>
            </a:avLst>
          </a:prstGeom>
          <a:solidFill>
            <a:srgbClr val="0095CD"/>
          </a:solidFill>
          <a:ln w="381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01" name="Teardrop 231"/>
          <p:cNvSpPr/>
          <p:nvPr/>
        </p:nvSpPr>
        <p:spPr>
          <a:xfrm rot="8100000">
            <a:off x="6100534" y="672433"/>
            <a:ext cx="303767" cy="303767"/>
          </a:xfrm>
          <a:prstGeom prst="teardrop">
            <a:avLst>
              <a:gd name="adj" fmla="val 133214"/>
            </a:avLst>
          </a:prstGeom>
          <a:solidFill>
            <a:srgbClr val="F17C3F"/>
          </a:solidFill>
          <a:ln w="381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02" name="Teardrop 232"/>
          <p:cNvSpPr/>
          <p:nvPr/>
        </p:nvSpPr>
        <p:spPr>
          <a:xfrm rot="8100000">
            <a:off x="6100534" y="1026567"/>
            <a:ext cx="303767" cy="303767"/>
          </a:xfrm>
          <a:prstGeom prst="teardrop">
            <a:avLst>
              <a:gd name="adj" fmla="val 133214"/>
            </a:avLst>
          </a:prstGeom>
          <a:solidFill>
            <a:srgbClr val="7BB21B"/>
          </a:solidFill>
          <a:ln w="381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03" name="Teardrop 233"/>
          <p:cNvSpPr/>
          <p:nvPr/>
        </p:nvSpPr>
        <p:spPr>
          <a:xfrm rot="8100000">
            <a:off x="6100534" y="1380700"/>
            <a:ext cx="303767" cy="303767"/>
          </a:xfrm>
          <a:prstGeom prst="teardrop">
            <a:avLst>
              <a:gd name="adj" fmla="val 133214"/>
            </a:avLst>
          </a:prstGeom>
          <a:solidFill>
            <a:srgbClr val="814E7E"/>
          </a:solidFill>
          <a:ln w="381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8862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Conception personnalisée">
  <a:themeElements>
    <a:clrScheme name="MIP">
      <a:dk1>
        <a:srgbClr val="595959"/>
      </a:dk1>
      <a:lt1>
        <a:sysClr val="window" lastClr="FFFFFF"/>
      </a:lt1>
      <a:dk2>
        <a:srgbClr val="C00000"/>
      </a:dk2>
      <a:lt2>
        <a:srgbClr val="EEECE1"/>
      </a:lt2>
      <a:accent1>
        <a:srgbClr val="C00000"/>
      </a:accent1>
      <a:accent2>
        <a:srgbClr val="3F3F3F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Solides discret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5112D3C2-9D31-4563-83CD-1D2E8C079EE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0</Words>
  <Application>Microsoft Office PowerPoint</Application>
  <PresentationFormat>Affichage à l'écran (4:3)</PresentationFormat>
  <Paragraphs>77</Paragraphs>
  <Slides>4</Slides>
  <Notes>4</Notes>
  <HiddenSlides>0</HiddenSlides>
  <MMClips>0</MMClips>
  <ScaleCrop>false</ScaleCrop>
  <HeadingPairs>
    <vt:vector size="6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10" baseType="lpstr">
      <vt:lpstr>Arial</vt:lpstr>
      <vt:lpstr>Calibri</vt:lpstr>
      <vt:lpstr>Calibri Light</vt:lpstr>
      <vt:lpstr>Cambria Math</vt:lpstr>
      <vt:lpstr>Wingdings 3</vt:lpstr>
      <vt:lpstr>Conception personnalisée</vt:lpstr>
      <vt:lpstr>Présentation PowerPoint</vt:lpstr>
      <vt:lpstr>Mission</vt:lpstr>
      <vt:lpstr>Paramètres Décision</vt:lpstr>
      <vt:lpstr>Résulta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15-06-11T09:03:47Z</dcterms:created>
  <dcterms:modified xsi:type="dcterms:W3CDTF">2017-02-06T15:07:5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19192419991</vt:lpwstr>
  </property>
</Properties>
</file>